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4"/>
  </p:notesMasterIdLst>
  <p:sldIdLst>
    <p:sldId id="257" r:id="rId2"/>
    <p:sldId id="4099" r:id="rId3"/>
    <p:sldId id="4685" r:id="rId4"/>
    <p:sldId id="4123" r:id="rId5"/>
    <p:sldId id="1627" r:id="rId6"/>
    <p:sldId id="4686" r:id="rId7"/>
    <p:sldId id="4476" r:id="rId8"/>
    <p:sldId id="4699" r:id="rId9"/>
    <p:sldId id="4700" r:id="rId10"/>
    <p:sldId id="4701" r:id="rId11"/>
    <p:sldId id="4702" r:id="rId12"/>
    <p:sldId id="4703" r:id="rId13"/>
    <p:sldId id="4694" r:id="rId14"/>
    <p:sldId id="4696" r:id="rId15"/>
    <p:sldId id="1604" r:id="rId16"/>
    <p:sldId id="4687" r:id="rId17"/>
    <p:sldId id="4688" r:id="rId18"/>
    <p:sldId id="4689" r:id="rId19"/>
    <p:sldId id="4191" r:id="rId20"/>
    <p:sldId id="4192" r:id="rId21"/>
    <p:sldId id="4193" r:id="rId22"/>
    <p:sldId id="4681"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6ACDBDF-109E-43EC-BDD1-D4AB003CDFEB}">
          <p14:sldIdLst>
            <p14:sldId id="257"/>
            <p14:sldId id="4099"/>
            <p14:sldId id="4685"/>
            <p14:sldId id="4123"/>
            <p14:sldId id="1627"/>
            <p14:sldId id="4686"/>
            <p14:sldId id="4476"/>
            <p14:sldId id="4699"/>
            <p14:sldId id="4700"/>
            <p14:sldId id="4701"/>
            <p14:sldId id="4702"/>
            <p14:sldId id="4703"/>
            <p14:sldId id="4694"/>
            <p14:sldId id="4696"/>
            <p14:sldId id="1604"/>
            <p14:sldId id="4687"/>
            <p14:sldId id="4688"/>
            <p14:sldId id="4689"/>
            <p14:sldId id="4191"/>
            <p14:sldId id="4192"/>
            <p14:sldId id="4193"/>
            <p14:sldId id="468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CADBE8"/>
    <a:srgbClr val="C3C3C3"/>
    <a:srgbClr val="B15C12"/>
    <a:srgbClr val="002060"/>
    <a:srgbClr val="FFF438"/>
    <a:srgbClr val="000000"/>
    <a:srgbClr val="E2EC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42" d="100"/>
          <a:sy n="42" d="100"/>
        </p:scale>
        <p:origin x="1053" y="38"/>
      </p:cViewPr>
      <p:guideLst/>
    </p:cSldViewPr>
  </p:slid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DE1CA49-E649-47A7-8F68-80B94CDE6EA9}" type="datetimeFigureOut">
              <a:rPr lang="en-GB" smtClean="0"/>
              <a:t>30/11/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908B020-F893-4AAD-898A-A8C8F574DB9F}" type="slidenum">
              <a:rPr lang="en-GB" smtClean="0"/>
              <a:t>‹#›</a:t>
            </a:fld>
            <a:endParaRPr lang="en-GB"/>
          </a:p>
        </p:txBody>
      </p:sp>
    </p:spTree>
    <p:extLst>
      <p:ext uri="{BB962C8B-B14F-4D97-AF65-F5344CB8AC3E}">
        <p14:creationId xmlns:p14="http://schemas.microsoft.com/office/powerpoint/2010/main" val="12618929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9920568-7B89-4656-8145-F87E619B7B8B}" type="slidenum">
              <a:rPr lang="en-GB" smtClean="0">
                <a:latin typeface="Verdana" panose="020B0604030504040204" pitchFamily="34" charset="0"/>
              </a:rPr>
              <a:pPr/>
              <a:t>2</a:t>
            </a:fld>
            <a:endParaRPr lang="en-GB">
              <a:latin typeface="Verdana" panose="020B0604030504040204" pitchFamily="34" charset="0"/>
            </a:endParaRPr>
          </a:p>
        </p:txBody>
      </p:sp>
    </p:spTree>
    <p:extLst>
      <p:ext uri="{BB962C8B-B14F-4D97-AF65-F5344CB8AC3E}">
        <p14:creationId xmlns:p14="http://schemas.microsoft.com/office/powerpoint/2010/main" val="34861175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FA5DCCA-A9C3-4E71-BB7C-14E5E021B8D5}" type="slidenum">
              <a:rPr lang="en-GB" smtClean="0"/>
              <a:t>3</a:t>
            </a:fld>
            <a:endParaRPr lang="en-GB" dirty="0"/>
          </a:p>
        </p:txBody>
      </p:sp>
    </p:spTree>
    <p:extLst>
      <p:ext uri="{BB962C8B-B14F-4D97-AF65-F5344CB8AC3E}">
        <p14:creationId xmlns:p14="http://schemas.microsoft.com/office/powerpoint/2010/main" val="2097663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lnSpc>
                <a:spcPts val="2250"/>
              </a:lnSpc>
            </a:pPr>
            <a:r>
              <a:rPr lang="en-GB" b="1" i="0" dirty="0">
                <a:solidFill>
                  <a:srgbClr val="242424"/>
                </a:solidFill>
                <a:effectLst/>
                <a:latin typeface="sohne"/>
              </a:rPr>
              <a:t>How Can Product Managers Leverage the RAPID Framework?</a:t>
            </a:r>
          </a:p>
          <a:p>
            <a:pPr algn="l">
              <a:lnSpc>
                <a:spcPts val="2400"/>
              </a:lnSpc>
            </a:pPr>
            <a:r>
              <a:rPr lang="en-GB" b="0" i="0" dirty="0">
                <a:solidFill>
                  <a:srgbClr val="242424"/>
                </a:solidFill>
                <a:effectLst/>
                <a:latin typeface="source-serif-pro"/>
              </a:rPr>
              <a:t>As a Product Manager, your role involves a myriad of decisions, from feature prioritization to resource allocation. The RAPID Framework can transform this decision-making maze into a structured journey. Let’s break it down step by step:</a:t>
            </a:r>
          </a:p>
          <a:p>
            <a:pPr algn="l">
              <a:lnSpc>
                <a:spcPts val="2250"/>
              </a:lnSpc>
            </a:pPr>
            <a:r>
              <a:rPr lang="en-GB" b="1" i="0" dirty="0">
                <a:solidFill>
                  <a:srgbClr val="242424"/>
                </a:solidFill>
                <a:effectLst/>
                <a:latin typeface="sohne"/>
              </a:rPr>
              <a:t>Step 1: Recommend</a:t>
            </a:r>
          </a:p>
          <a:p>
            <a:pPr algn="l">
              <a:lnSpc>
                <a:spcPts val="2400"/>
              </a:lnSpc>
            </a:pPr>
            <a:r>
              <a:rPr lang="en-GB" b="0" i="0" dirty="0">
                <a:solidFill>
                  <a:srgbClr val="242424"/>
                </a:solidFill>
                <a:effectLst/>
                <a:latin typeface="source-serif-pro"/>
              </a:rPr>
              <a:t>The journey begins with recommendations. In this stage, individuals or teams propose actions based on their expertise or analysis. For example, your UX team might recommend enhancing the user interface for better accessibility.</a:t>
            </a:r>
          </a:p>
          <a:p>
            <a:pPr algn="l">
              <a:lnSpc>
                <a:spcPts val="2400"/>
              </a:lnSpc>
            </a:pPr>
            <a:r>
              <a:rPr lang="en-GB" b="0" i="0" dirty="0">
                <a:solidFill>
                  <a:srgbClr val="242424"/>
                </a:solidFill>
                <a:effectLst/>
                <a:latin typeface="source-serif-pro"/>
              </a:rPr>
              <a:t>Actionable Tip: Encourage a culture where team members feel empowered to make data-driven recommendations. Provide them with the tools and information needed to </a:t>
            </a:r>
            <a:r>
              <a:rPr lang="en-GB" b="0" i="0" dirty="0" err="1">
                <a:solidFill>
                  <a:srgbClr val="242424"/>
                </a:solidFill>
                <a:effectLst/>
                <a:latin typeface="source-serif-pro"/>
              </a:rPr>
              <a:t>analyze</a:t>
            </a:r>
            <a:r>
              <a:rPr lang="en-GB" b="0" i="0" dirty="0">
                <a:solidFill>
                  <a:srgbClr val="242424"/>
                </a:solidFill>
                <a:effectLst/>
                <a:latin typeface="source-serif-pro"/>
              </a:rPr>
              <a:t> and propose solutions effectively.</a:t>
            </a:r>
          </a:p>
          <a:p>
            <a:pPr algn="l">
              <a:lnSpc>
                <a:spcPts val="2250"/>
              </a:lnSpc>
            </a:pPr>
            <a:r>
              <a:rPr lang="en-GB" b="1" i="0" dirty="0">
                <a:solidFill>
                  <a:srgbClr val="242424"/>
                </a:solidFill>
                <a:effectLst/>
                <a:latin typeface="sohne"/>
              </a:rPr>
              <a:t>Step 2: Agree</a:t>
            </a:r>
          </a:p>
          <a:p>
            <a:pPr algn="l">
              <a:lnSpc>
                <a:spcPts val="2400"/>
              </a:lnSpc>
            </a:pPr>
            <a:r>
              <a:rPr lang="en-GB" b="0" i="0" dirty="0">
                <a:solidFill>
                  <a:srgbClr val="242424"/>
                </a:solidFill>
                <a:effectLst/>
                <a:latin typeface="source-serif-pro"/>
              </a:rPr>
              <a:t>The Agree step involves key stakeholders who must support the recommendation for it to move forward. These stakeholders could include senior management, cross-functional leaders, or even key customers. Continuing our example, the Product and Design leads would need to agree with the UX team’s recommendation, ensuring it aligns with the overall product strategy and user needs.</a:t>
            </a:r>
          </a:p>
          <a:p>
            <a:pPr algn="l">
              <a:lnSpc>
                <a:spcPts val="2400"/>
              </a:lnSpc>
            </a:pPr>
            <a:r>
              <a:rPr lang="en-GB" b="0" i="0" dirty="0">
                <a:solidFill>
                  <a:srgbClr val="242424"/>
                </a:solidFill>
                <a:effectLst/>
                <a:latin typeface="source-serif-pro"/>
              </a:rPr>
              <a:t>Actionable Tip: Facilitate regular cross-functional meetings to discuss and align on recommendations. Ensure that all stakeholders have a clear understanding of the implications and benefits of the proposed actions.</a:t>
            </a:r>
          </a:p>
          <a:p>
            <a:pPr algn="l">
              <a:lnSpc>
                <a:spcPts val="2250"/>
              </a:lnSpc>
            </a:pPr>
            <a:r>
              <a:rPr lang="en-GB" b="1" i="0" dirty="0">
                <a:solidFill>
                  <a:srgbClr val="242424"/>
                </a:solidFill>
                <a:effectLst/>
                <a:latin typeface="sohne"/>
              </a:rPr>
              <a:t>Step 3: Perform</a:t>
            </a:r>
          </a:p>
          <a:p>
            <a:pPr algn="l">
              <a:lnSpc>
                <a:spcPts val="2400"/>
              </a:lnSpc>
            </a:pPr>
            <a:r>
              <a:rPr lang="en-GB" b="0" i="0" dirty="0">
                <a:solidFill>
                  <a:srgbClr val="242424"/>
                </a:solidFill>
                <a:effectLst/>
                <a:latin typeface="source-serif-pro"/>
              </a:rPr>
              <a:t>In the Perform stage, individuals or teams are tasked with executing the decision. This is where the rubber meets the road. If the decision was to enhance the user interface, the UX and Development teams would now work on implementing the changes.</a:t>
            </a:r>
          </a:p>
          <a:p>
            <a:pPr algn="l">
              <a:lnSpc>
                <a:spcPts val="2400"/>
              </a:lnSpc>
            </a:pPr>
            <a:r>
              <a:rPr lang="en-GB" b="0" i="0" dirty="0">
                <a:solidFill>
                  <a:srgbClr val="242424"/>
                </a:solidFill>
                <a:effectLst/>
                <a:latin typeface="source-serif-pro"/>
              </a:rPr>
              <a:t>Actionable Tip: Define clear objectives, timelines, and KPIs for the implementation phase. Regular check-ins and agile methodologies can help keep the team on track and adaptable to changes.</a:t>
            </a:r>
          </a:p>
          <a:p>
            <a:pPr algn="l">
              <a:lnSpc>
                <a:spcPts val="2250"/>
              </a:lnSpc>
            </a:pPr>
            <a:r>
              <a:rPr lang="en-GB" b="1" i="0" dirty="0">
                <a:solidFill>
                  <a:srgbClr val="242424"/>
                </a:solidFill>
                <a:effectLst/>
                <a:latin typeface="sohne"/>
              </a:rPr>
              <a:t>Step 4: Input</a:t>
            </a:r>
          </a:p>
          <a:p>
            <a:pPr algn="l">
              <a:lnSpc>
                <a:spcPts val="2400"/>
              </a:lnSpc>
            </a:pPr>
            <a:r>
              <a:rPr lang="en-GB" b="0" i="0" dirty="0">
                <a:solidFill>
                  <a:srgbClr val="242424"/>
                </a:solidFill>
                <a:effectLst/>
                <a:latin typeface="source-serif-pro"/>
              </a:rPr>
              <a:t>Input is crucial for informed decision-making. This involves gathering insights, data, and feedback from a broad range of sources to inform the decision at hand. For instance, collecting user feedback through surveys or A/B testing could provide valuable insights into the proposed UI enhancements.</a:t>
            </a:r>
          </a:p>
          <a:p>
            <a:pPr algn="l">
              <a:lnSpc>
                <a:spcPts val="2400"/>
              </a:lnSpc>
            </a:pPr>
            <a:r>
              <a:rPr lang="en-GB" b="0" i="0" dirty="0">
                <a:solidFill>
                  <a:srgbClr val="242424"/>
                </a:solidFill>
                <a:effectLst/>
                <a:latin typeface="source-serif-pro"/>
              </a:rPr>
              <a:t>Actionable Tip: Develop a systematic approach for collecting and </a:t>
            </a:r>
            <a:r>
              <a:rPr lang="en-GB" b="0" i="0" dirty="0" err="1">
                <a:solidFill>
                  <a:srgbClr val="242424"/>
                </a:solidFill>
                <a:effectLst/>
                <a:latin typeface="source-serif-pro"/>
              </a:rPr>
              <a:t>analyzing</a:t>
            </a:r>
            <a:r>
              <a:rPr lang="en-GB" b="0" i="0" dirty="0">
                <a:solidFill>
                  <a:srgbClr val="242424"/>
                </a:solidFill>
                <a:effectLst/>
                <a:latin typeface="source-serif-pro"/>
              </a:rPr>
              <a:t> input. Leverage tools like user analytics, feedback platforms, and stakeholder interviews to gather comprehensive insights.</a:t>
            </a:r>
          </a:p>
          <a:p>
            <a:pPr algn="l">
              <a:lnSpc>
                <a:spcPts val="2250"/>
              </a:lnSpc>
            </a:pPr>
            <a:r>
              <a:rPr lang="en-GB" b="1" i="0" dirty="0">
                <a:solidFill>
                  <a:srgbClr val="242424"/>
                </a:solidFill>
                <a:effectLst/>
                <a:latin typeface="sohne"/>
              </a:rPr>
              <a:t>Step 5: Decide</a:t>
            </a:r>
          </a:p>
          <a:p>
            <a:pPr algn="l">
              <a:lnSpc>
                <a:spcPts val="2400"/>
              </a:lnSpc>
            </a:pPr>
            <a:r>
              <a:rPr lang="en-GB" b="0" i="0" dirty="0">
                <a:solidFill>
                  <a:srgbClr val="242424"/>
                </a:solidFill>
                <a:effectLst/>
                <a:latin typeface="source-serif-pro"/>
              </a:rPr>
              <a:t>Finally, the Decide step assigns the responsibility of making the final decision to a specific individual, usually a senior leader or the Product Manager. This person considers all the recommendations, agreements, performance plans, and inputs before making an informed decision.</a:t>
            </a:r>
          </a:p>
          <a:p>
            <a:pPr algn="l">
              <a:lnSpc>
                <a:spcPts val="2400"/>
              </a:lnSpc>
            </a:pPr>
            <a:r>
              <a:rPr lang="en-GB" b="0" i="0" dirty="0">
                <a:solidFill>
                  <a:srgbClr val="242424"/>
                </a:solidFill>
                <a:effectLst/>
                <a:latin typeface="source-serif-pro"/>
              </a:rPr>
              <a:t>Actionable Tip: Ensure that the decision-maker is equipped with all necessary information and insights. A structured decision-making template or dashboard that summarizes the key points can aid in this process.</a:t>
            </a:r>
          </a:p>
          <a:p>
            <a:pPr algn="l">
              <a:lnSpc>
                <a:spcPts val="2250"/>
              </a:lnSpc>
            </a:pPr>
            <a:r>
              <a:rPr lang="en-GB" b="1" i="0" dirty="0">
                <a:solidFill>
                  <a:srgbClr val="242424"/>
                </a:solidFill>
                <a:effectLst/>
                <a:latin typeface="sohne"/>
              </a:rPr>
              <a:t>Putting It All Together: A Real-World Example</a:t>
            </a:r>
          </a:p>
          <a:p>
            <a:pPr algn="l">
              <a:lnSpc>
                <a:spcPts val="2400"/>
              </a:lnSpc>
            </a:pPr>
            <a:r>
              <a:rPr lang="en-GB" b="0" i="0" dirty="0">
                <a:solidFill>
                  <a:srgbClr val="242424"/>
                </a:solidFill>
                <a:effectLst/>
                <a:latin typeface="source-serif-pro"/>
              </a:rPr>
              <a:t>Imagine you’re the Product Manager for a popular productivity app, and user feedback indicates that the app’s task management feature is not intuitive. Here’s how you could apply the RAPID Framework:</a:t>
            </a:r>
          </a:p>
          <a:p>
            <a:pPr algn="l">
              <a:lnSpc>
                <a:spcPts val="2400"/>
              </a:lnSpc>
              <a:buFont typeface="Arial" panose="020B0604020202020204" pitchFamily="34" charset="0"/>
              <a:buChar char="•"/>
            </a:pPr>
            <a:r>
              <a:rPr lang="en-GB" b="0" i="0" dirty="0">
                <a:solidFill>
                  <a:srgbClr val="242424"/>
                </a:solidFill>
                <a:effectLst/>
                <a:latin typeface="source-serif-pro"/>
              </a:rPr>
              <a:t>Recommend: The UX team conducts user research and recommends a redesign of the task management feature to improve intuitiveness.</a:t>
            </a:r>
          </a:p>
          <a:p>
            <a:pPr algn="l">
              <a:lnSpc>
                <a:spcPts val="2400"/>
              </a:lnSpc>
              <a:buFont typeface="Arial" panose="020B0604020202020204" pitchFamily="34" charset="0"/>
              <a:buChar char="•"/>
            </a:pPr>
            <a:r>
              <a:rPr lang="en-GB" b="0" i="0" dirty="0">
                <a:solidFill>
                  <a:srgbClr val="242424"/>
                </a:solidFill>
                <a:effectLst/>
                <a:latin typeface="source-serif-pro"/>
              </a:rPr>
              <a:t>Agree: You discuss this recommendation with the Engineering and Design leads in a cross-functional meeting, and they agree with the proposed redesign.</a:t>
            </a:r>
          </a:p>
          <a:p>
            <a:pPr algn="l">
              <a:lnSpc>
                <a:spcPts val="2400"/>
              </a:lnSpc>
              <a:buFont typeface="Arial" panose="020B0604020202020204" pitchFamily="34" charset="0"/>
              <a:buChar char="•"/>
            </a:pPr>
            <a:r>
              <a:rPr lang="en-GB" b="0" i="0" dirty="0">
                <a:solidFill>
                  <a:srgbClr val="242424"/>
                </a:solidFill>
                <a:effectLst/>
                <a:latin typeface="source-serif-pro"/>
              </a:rPr>
              <a:t>Perform: The UX designers and developers are assigned to perform the redesign, following a detailed plan and timeline.</a:t>
            </a:r>
          </a:p>
          <a:p>
            <a:pPr algn="l">
              <a:lnSpc>
                <a:spcPts val="2400"/>
              </a:lnSpc>
              <a:buFont typeface="Arial" panose="020B0604020202020204" pitchFamily="34" charset="0"/>
              <a:buChar char="•"/>
            </a:pPr>
            <a:r>
              <a:rPr lang="en-GB" b="0" i="0" dirty="0">
                <a:solidFill>
                  <a:srgbClr val="242424"/>
                </a:solidFill>
                <a:effectLst/>
                <a:latin typeface="source-serif-pro"/>
              </a:rPr>
              <a:t>Input: You gather input from beta testers and </a:t>
            </a:r>
            <a:r>
              <a:rPr lang="en-GB" b="0" i="0" dirty="0" err="1">
                <a:solidFill>
                  <a:srgbClr val="242424"/>
                </a:solidFill>
                <a:effectLst/>
                <a:latin typeface="source-serif-pro"/>
              </a:rPr>
              <a:t>analyze</a:t>
            </a:r>
            <a:r>
              <a:rPr lang="en-GB" b="0" i="0" dirty="0">
                <a:solidFill>
                  <a:srgbClr val="242424"/>
                </a:solidFill>
                <a:effectLst/>
                <a:latin typeface="source-serif-pro"/>
              </a:rPr>
              <a:t> usage data from the redesigned feature’s initial rollout.</a:t>
            </a:r>
          </a:p>
          <a:p>
            <a:pPr algn="l">
              <a:lnSpc>
                <a:spcPts val="2400"/>
              </a:lnSpc>
              <a:buFont typeface="Arial" panose="020B0604020202020204" pitchFamily="34" charset="0"/>
              <a:buChar char="•"/>
            </a:pPr>
            <a:r>
              <a:rPr lang="en-GB" b="0" i="0" dirty="0">
                <a:solidFill>
                  <a:srgbClr val="242424"/>
                </a:solidFill>
                <a:effectLst/>
                <a:latin typeface="source-serif-pro"/>
              </a:rPr>
              <a:t>Decide: Based on the positive feedback and improved user engagement metrics, you, as the Product Manager, decide to fully implement the redesigned task management feature across the app.</a:t>
            </a:r>
          </a:p>
          <a:p>
            <a:endParaRPr lang="en-GB" dirty="0"/>
          </a:p>
        </p:txBody>
      </p:sp>
      <p:sp>
        <p:nvSpPr>
          <p:cNvPr id="4" name="Slide Number Placeholder 3"/>
          <p:cNvSpPr>
            <a:spLocks noGrp="1"/>
          </p:cNvSpPr>
          <p:nvPr>
            <p:ph type="sldNum" sz="quarter" idx="5"/>
          </p:nvPr>
        </p:nvSpPr>
        <p:spPr/>
        <p:txBody>
          <a:bodyPr/>
          <a:lstStyle/>
          <a:p>
            <a:pPr defTabSz="942289">
              <a:defRPr/>
            </a:pPr>
            <a:fld id="{6119D795-53D8-4797-8DCC-70674BCE906F}" type="slidenum">
              <a:rPr lang="en-GB">
                <a:solidFill>
                  <a:prstClr val="black"/>
                </a:solidFill>
                <a:latin typeface="Calibri" panose="020F0502020204030204"/>
              </a:rPr>
              <a:pPr defTabSz="942289">
                <a:defRPr/>
              </a:pPr>
              <a:t>19</a:t>
            </a:fld>
            <a:endParaRPr lang="en-GB">
              <a:solidFill>
                <a:prstClr val="black"/>
              </a:solidFill>
              <a:latin typeface="Calibri" panose="020F0502020204030204"/>
            </a:endParaRPr>
          </a:p>
        </p:txBody>
      </p:sp>
    </p:spTree>
    <p:extLst>
      <p:ext uri="{BB962C8B-B14F-4D97-AF65-F5344CB8AC3E}">
        <p14:creationId xmlns:p14="http://schemas.microsoft.com/office/powerpoint/2010/main" val="401965981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p:spTree>
      <p:nvGrpSpPr>
        <p:cNvPr id="1" name=""/>
        <p:cNvGrpSpPr/>
        <p:nvPr/>
      </p:nvGrpSpPr>
      <p:grpSpPr>
        <a:xfrm>
          <a:off x="0" y="0"/>
          <a:ext cx="0" cy="0"/>
          <a:chOff x="0" y="0"/>
          <a:chExt cx="0" cy="0"/>
        </a:xfrm>
      </p:grpSpPr>
      <p:sp>
        <p:nvSpPr>
          <p:cNvPr id="7" name="Text Placeholder 4"/>
          <p:cNvSpPr>
            <a:spLocks noGrp="1"/>
          </p:cNvSpPr>
          <p:nvPr>
            <p:ph type="body" sz="quarter" idx="12" hasCustomPrompt="1"/>
          </p:nvPr>
        </p:nvSpPr>
        <p:spPr>
          <a:xfrm>
            <a:off x="431372" y="3873022"/>
            <a:ext cx="6980425" cy="272724"/>
          </a:xfrm>
          <a:prstGeom prst="rect">
            <a:avLst/>
          </a:prstGeom>
          <a:noFill/>
          <a:ln>
            <a:noFill/>
          </a:ln>
        </p:spPr>
        <p:txBody>
          <a:bodyPr lIns="0" tIns="0" rIns="0" bIns="0" anchor="t">
            <a:noAutofit/>
          </a:bodyPr>
          <a:lstStyle>
            <a:lvl1pPr>
              <a:buNone/>
              <a:defRPr sz="1800" baseline="0">
                <a:solidFill>
                  <a:srgbClr val="002060"/>
                </a:solidFill>
                <a:latin typeface="Segoe UI" panose="020B0502040204020203" pitchFamily="34" charset="0"/>
                <a:cs typeface="Segoe UI" panose="020B0502040204020203" pitchFamily="34" charset="0"/>
              </a:defRPr>
            </a:lvl1pPr>
          </a:lstStyle>
          <a:p>
            <a:r>
              <a:rPr lang="en-GB"/>
              <a:t>Sub-title here | Date here</a:t>
            </a:r>
          </a:p>
        </p:txBody>
      </p:sp>
      <p:cxnSp>
        <p:nvCxnSpPr>
          <p:cNvPr id="22" name="Straight Connector 21">
            <a:extLst>
              <a:ext uri="{FF2B5EF4-FFF2-40B4-BE49-F238E27FC236}">
                <a16:creationId xmlns:a16="http://schemas.microsoft.com/office/drawing/2014/main" id="{7EA1457B-816F-4E34-A6F5-E5A58D809044}"/>
              </a:ext>
            </a:extLst>
          </p:cNvPr>
          <p:cNvCxnSpPr/>
          <p:nvPr/>
        </p:nvCxnSpPr>
        <p:spPr>
          <a:xfrm>
            <a:off x="431372" y="3761690"/>
            <a:ext cx="6980425" cy="0"/>
          </a:xfrm>
          <a:prstGeom prst="line">
            <a:avLst/>
          </a:prstGeom>
          <a:ln w="19050">
            <a:gradFill flip="none" rotWithShape="1">
              <a:gsLst>
                <a:gs pos="0">
                  <a:srgbClr val="EBB95F"/>
                </a:gs>
                <a:gs pos="100000">
                  <a:srgbClr val="C3C3C3"/>
                </a:gs>
              </a:gsLst>
              <a:lin ang="0" scaled="1"/>
              <a:tileRect/>
            </a:gra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 Placeholder 11">
            <a:extLst>
              <a:ext uri="{FF2B5EF4-FFF2-40B4-BE49-F238E27FC236}">
                <a16:creationId xmlns:a16="http://schemas.microsoft.com/office/drawing/2014/main" id="{48FF2318-AAB1-405C-A7FB-399B21FB07D6}"/>
              </a:ext>
            </a:extLst>
          </p:cNvPr>
          <p:cNvSpPr txBox="1">
            <a:spLocks/>
          </p:cNvSpPr>
          <p:nvPr/>
        </p:nvSpPr>
        <p:spPr>
          <a:xfrm>
            <a:off x="6572888" y="5984172"/>
            <a:ext cx="5315895" cy="307777"/>
          </a:xfrm>
          <a:prstGeom prst="rect">
            <a:avLst/>
          </a:prstGeom>
          <a:noFill/>
          <a:ln>
            <a:noFill/>
          </a:ln>
        </p:spPr>
        <p:txBody>
          <a:bodyPr vert="horz" wrap="square" lIns="0" tIns="0" rIns="36000" bIns="0" rtlCol="0" anchor="t">
            <a:spAutoFit/>
          </a:bodyPr>
          <a:lstStyle>
            <a:lvl1pPr marL="0" indent="0" algn="l" defTabSz="914400" rtl="0" eaLnBrk="1" latinLnBrk="0" hangingPunct="1">
              <a:spcBef>
                <a:spcPts val="1200"/>
              </a:spcBef>
              <a:spcAft>
                <a:spcPts val="300"/>
              </a:spcAft>
              <a:buFontTx/>
              <a:buNone/>
              <a:defRPr sz="3200" b="1" kern="1200">
                <a:solidFill>
                  <a:schemeClr val="bg1"/>
                </a:solidFill>
                <a:latin typeface="Calibri" panose="020F0502020204030204" pitchFamily="34" charset="0"/>
                <a:ea typeface="+mn-ea"/>
                <a:cs typeface="Calibri" panose="020F0502020204030204" pitchFamily="34" charset="0"/>
              </a:defRPr>
            </a:lvl1pPr>
            <a:lvl2pPr marL="0" indent="0" algn="l" defTabSz="914400" rtl="0" eaLnBrk="1" latinLnBrk="0" hangingPunct="1">
              <a:spcBef>
                <a:spcPts val="300"/>
              </a:spcBef>
              <a:spcAft>
                <a:spcPts val="600"/>
              </a:spcAft>
              <a:buFontTx/>
              <a:buNone/>
              <a:defRPr sz="1400" kern="1200">
                <a:solidFill>
                  <a:schemeClr val="tx1"/>
                </a:solidFill>
                <a:latin typeface="+mn-lt"/>
                <a:ea typeface="+mn-ea"/>
                <a:cs typeface="+mn-cs"/>
              </a:defRPr>
            </a:lvl2pPr>
            <a:lvl3pPr marL="269875" indent="-269875" algn="l" defTabSz="914400" rtl="0" eaLnBrk="1" latinLnBrk="0" hangingPunct="1">
              <a:spcBef>
                <a:spcPts val="300"/>
              </a:spcBef>
              <a:spcAft>
                <a:spcPts val="600"/>
              </a:spcAft>
              <a:buClr>
                <a:srgbClr val="C3C3C4"/>
              </a:buClr>
              <a:buSzPct val="100000"/>
              <a:buFont typeface="Wingdings 2" pitchFamily="18" charset="2"/>
              <a:buChar char=""/>
              <a:tabLst/>
              <a:defRPr sz="1400" kern="1200">
                <a:solidFill>
                  <a:schemeClr val="tx1"/>
                </a:solidFill>
                <a:latin typeface="+mn-lt"/>
                <a:ea typeface="+mn-ea"/>
                <a:cs typeface="+mn-cs"/>
              </a:defRPr>
            </a:lvl3pPr>
            <a:lvl4pPr marL="539750" indent="-269875" algn="l" defTabSz="914400" rtl="0" eaLnBrk="1" latinLnBrk="0" hangingPunct="1">
              <a:spcBef>
                <a:spcPts val="300"/>
              </a:spcBef>
              <a:spcAft>
                <a:spcPts val="600"/>
              </a:spcAft>
              <a:buClr>
                <a:schemeClr val="tx1"/>
              </a:buClr>
              <a:buFont typeface="Arial" pitchFamily="34" charset="0"/>
              <a:buChar char="–"/>
              <a:tabLst/>
              <a:defRPr sz="1400" kern="1200">
                <a:solidFill>
                  <a:schemeClr val="tx1"/>
                </a:solidFill>
                <a:latin typeface="+mn-lt"/>
                <a:ea typeface="+mn-ea"/>
                <a:cs typeface="+mn-cs"/>
              </a:defRPr>
            </a:lvl4pPr>
            <a:lvl5pPr marL="808038" indent="-268288" algn="l" defTabSz="914400" rtl="0" eaLnBrk="1" latinLnBrk="0" hangingPunct="1">
              <a:spcBef>
                <a:spcPts val="300"/>
              </a:spcBef>
              <a:spcAft>
                <a:spcPts val="600"/>
              </a:spcAft>
              <a:buClr>
                <a:schemeClr val="tx1"/>
              </a:buClr>
              <a:buFont typeface="Arial" pitchFamily="34" charset="0"/>
              <a:buChar char="–"/>
              <a:defRPr sz="1400" kern="1200">
                <a:solidFill>
                  <a:schemeClr val="tx1"/>
                </a:solidFill>
                <a:latin typeface="+mn-lt"/>
                <a:ea typeface="+mn-ea"/>
                <a:cs typeface="+mn-cs"/>
              </a:defRPr>
            </a:lvl5pPr>
            <a:lvl6pPr marL="1077913" indent="-269875" algn="l" defTabSz="914400" rtl="0" eaLnBrk="1" latinLnBrk="0" hangingPunct="1">
              <a:spcBef>
                <a:spcPts val="300"/>
              </a:spcBef>
              <a:spcAft>
                <a:spcPts val="600"/>
              </a:spcAft>
              <a:buClr>
                <a:schemeClr val="tx1"/>
              </a:buClr>
              <a:buFont typeface="Arial" pitchFamily="34" charset="0"/>
              <a:buChar char="–"/>
              <a:defRPr sz="1400" kern="1200">
                <a:solidFill>
                  <a:schemeClr val="tx1"/>
                </a:solidFill>
                <a:latin typeface="+mn-lt"/>
                <a:ea typeface="+mn-ea"/>
                <a:cs typeface="+mn-cs"/>
              </a:defRPr>
            </a:lvl6pPr>
            <a:lvl7pPr marL="1347788" indent="-269875" algn="l" defTabSz="914400" rtl="0" eaLnBrk="1" latinLnBrk="0" hangingPunct="1">
              <a:spcBef>
                <a:spcPts val="300"/>
              </a:spcBef>
              <a:spcAft>
                <a:spcPts val="600"/>
              </a:spcAft>
              <a:buClr>
                <a:schemeClr val="tx1"/>
              </a:buClr>
              <a:buFont typeface="Arial" pitchFamily="34" charset="0"/>
              <a:buChar char="–"/>
              <a:defRPr sz="1400" kern="1200">
                <a:solidFill>
                  <a:schemeClr val="tx1"/>
                </a:solidFill>
                <a:latin typeface="+mn-lt"/>
                <a:ea typeface="+mn-ea"/>
                <a:cs typeface="+mn-cs"/>
              </a:defRPr>
            </a:lvl7pPr>
            <a:lvl8pPr marL="1617663" indent="-269875" algn="l" defTabSz="914400" rtl="0" eaLnBrk="1" latinLnBrk="0" hangingPunct="1">
              <a:spcBef>
                <a:spcPts val="300"/>
              </a:spcBef>
              <a:spcAft>
                <a:spcPts val="600"/>
              </a:spcAft>
              <a:buClr>
                <a:schemeClr val="tx1"/>
              </a:buClr>
              <a:buFont typeface="Arial" pitchFamily="34" charset="0"/>
              <a:buChar char="–"/>
              <a:defRPr sz="1400" kern="1200">
                <a:solidFill>
                  <a:schemeClr val="tx1"/>
                </a:solidFill>
                <a:latin typeface="+mn-lt"/>
                <a:ea typeface="+mn-ea"/>
                <a:cs typeface="+mn-cs"/>
              </a:defRPr>
            </a:lvl8pPr>
            <a:lvl9pPr marL="1885950" indent="-268288" algn="l" defTabSz="914400" rtl="0" eaLnBrk="1" latinLnBrk="0" hangingPunct="1">
              <a:spcBef>
                <a:spcPts val="300"/>
              </a:spcBef>
              <a:spcAft>
                <a:spcPts val="600"/>
              </a:spcAft>
              <a:buClr>
                <a:schemeClr val="tx1"/>
              </a:buClr>
              <a:buFont typeface="Arial" pitchFamily="34" charset="0"/>
              <a:buChar char="–"/>
              <a:tabLst/>
              <a:defRPr sz="1400" kern="1200">
                <a:solidFill>
                  <a:schemeClr val="tx1"/>
                </a:solidFill>
                <a:latin typeface="+mn-lt"/>
                <a:ea typeface="+mn-ea"/>
                <a:cs typeface="+mn-cs"/>
              </a:defRPr>
            </a:lvl9pPr>
          </a:lstStyle>
          <a:p>
            <a:pPr algn="r">
              <a:spcBef>
                <a:spcPts val="600"/>
              </a:spcBef>
              <a:spcAft>
                <a:spcPts val="1200"/>
              </a:spcAft>
            </a:pPr>
            <a:r>
              <a:rPr lang="en-IN" sz="2000" b="0">
                <a:solidFill>
                  <a:srgbClr val="002060"/>
                </a:solidFill>
                <a:latin typeface="Tahoma" panose="020B0604030504040204" pitchFamily="34" charset="0"/>
                <a:ea typeface="Tahoma" panose="020B0604030504040204" pitchFamily="34" charset="0"/>
                <a:cs typeface="Tahoma" panose="020B0604030504040204" pitchFamily="34" charset="0"/>
              </a:rPr>
              <a:t>www.honeycombps.co.uk</a:t>
            </a:r>
          </a:p>
        </p:txBody>
      </p:sp>
      <p:pic>
        <p:nvPicPr>
          <p:cNvPr id="3" name="Picture 2" descr="A picture containing icon&#10;&#10;Description automatically generated">
            <a:extLst>
              <a:ext uri="{FF2B5EF4-FFF2-40B4-BE49-F238E27FC236}">
                <a16:creationId xmlns:a16="http://schemas.microsoft.com/office/drawing/2014/main" id="{E3FF77A1-64B2-4293-9369-671A078A0DF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9995" y="4567299"/>
            <a:ext cx="3470313" cy="1952051"/>
          </a:xfrm>
          <a:prstGeom prst="rect">
            <a:avLst/>
          </a:prstGeom>
        </p:spPr>
      </p:pic>
      <p:sp>
        <p:nvSpPr>
          <p:cNvPr id="15" name="Picture Placeholder 14">
            <a:extLst>
              <a:ext uri="{FF2B5EF4-FFF2-40B4-BE49-F238E27FC236}">
                <a16:creationId xmlns:a16="http://schemas.microsoft.com/office/drawing/2014/main" id="{B967F87A-CCBB-46CF-8A3C-A3D850478BC1}"/>
              </a:ext>
            </a:extLst>
          </p:cNvPr>
          <p:cNvSpPr>
            <a:spLocks noGrp="1"/>
          </p:cNvSpPr>
          <p:nvPr>
            <p:ph type="pic" sz="quarter" idx="13" hasCustomPrompt="1"/>
          </p:nvPr>
        </p:nvSpPr>
        <p:spPr>
          <a:xfrm>
            <a:off x="431800" y="2284413"/>
            <a:ext cx="4322763" cy="1365250"/>
          </a:xfrm>
          <a:solidFill>
            <a:schemeClr val="bg2"/>
          </a:solidFill>
        </p:spPr>
        <p:txBody>
          <a:bodyPr/>
          <a:lstStyle>
            <a:lvl1pPr algn="ctr">
              <a:buNone/>
              <a:defRPr i="1"/>
            </a:lvl1pPr>
          </a:lstStyle>
          <a:p>
            <a:r>
              <a:rPr lang="en-GB"/>
              <a:t>Client Logo</a:t>
            </a:r>
          </a:p>
        </p:txBody>
      </p:sp>
      <p:sp>
        <p:nvSpPr>
          <p:cNvPr id="2" name="Hexagon 1">
            <a:extLst>
              <a:ext uri="{FF2B5EF4-FFF2-40B4-BE49-F238E27FC236}">
                <a16:creationId xmlns:a16="http://schemas.microsoft.com/office/drawing/2014/main" id="{EF1D3AEE-CA57-0A71-E6A2-64ADF6B236B6}"/>
              </a:ext>
            </a:extLst>
          </p:cNvPr>
          <p:cNvSpPr/>
          <p:nvPr userDrawn="1"/>
        </p:nvSpPr>
        <p:spPr>
          <a:xfrm>
            <a:off x="8110912" y="1166285"/>
            <a:ext cx="2592288" cy="2234731"/>
          </a:xfrm>
          <a:prstGeom prst="hexagon">
            <a:avLst/>
          </a:prstGeom>
          <a:gradFill flip="none" rotWithShape="1">
            <a:gsLst>
              <a:gs pos="82000">
                <a:srgbClr val="F9E6C5"/>
              </a:gs>
              <a:gs pos="40000">
                <a:srgbClr val="EBB95F"/>
              </a:gs>
              <a:gs pos="100000">
                <a:schemeClr val="bg1"/>
              </a:gs>
            </a:gsLst>
            <a:lin ang="0" scaled="1"/>
            <a:tileRect/>
          </a:gra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nchorCtr="1">
            <a:noAutofit/>
          </a:bodyPr>
          <a:lstStyle/>
          <a:p>
            <a:pPr lvl="0" algn="ctr"/>
            <a:endParaRPr lang="en-IN" sz="1400">
              <a:solidFill>
                <a:schemeClr val="bg1"/>
              </a:solidFill>
            </a:endParaRPr>
          </a:p>
        </p:txBody>
      </p:sp>
      <p:sp>
        <p:nvSpPr>
          <p:cNvPr id="4" name="Freeform: Shape 7">
            <a:extLst>
              <a:ext uri="{FF2B5EF4-FFF2-40B4-BE49-F238E27FC236}">
                <a16:creationId xmlns:a16="http://schemas.microsoft.com/office/drawing/2014/main" id="{77035D8B-6752-53D3-691C-4B45C1A2513B}"/>
              </a:ext>
            </a:extLst>
          </p:cNvPr>
          <p:cNvSpPr/>
          <p:nvPr userDrawn="1"/>
        </p:nvSpPr>
        <p:spPr>
          <a:xfrm>
            <a:off x="3914484" y="1"/>
            <a:ext cx="2532803" cy="1057879"/>
          </a:xfrm>
          <a:custGeom>
            <a:avLst/>
            <a:gdLst>
              <a:gd name="connsiteX0" fmla="*/ 0 w 2532803"/>
              <a:gd name="connsiteY0" fmla="*/ 0 h 1057879"/>
              <a:gd name="connsiteX1" fmla="*/ 2532803 w 2532803"/>
              <a:gd name="connsiteY1" fmla="*/ 0 h 1057879"/>
              <a:gd name="connsiteX2" fmla="*/ 2003863 w 2532803"/>
              <a:gd name="connsiteY2" fmla="*/ 1057879 h 1057879"/>
              <a:gd name="connsiteX3" fmla="*/ 528941 w 2532803"/>
              <a:gd name="connsiteY3" fmla="*/ 1057879 h 1057879"/>
              <a:gd name="connsiteX4" fmla="*/ 0 w 2532803"/>
              <a:gd name="connsiteY4" fmla="*/ 0 h 105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2803" h="1057879">
                <a:moveTo>
                  <a:pt x="0" y="0"/>
                </a:moveTo>
                <a:lnTo>
                  <a:pt x="2532803" y="0"/>
                </a:lnTo>
                <a:lnTo>
                  <a:pt x="2003863" y="1057879"/>
                </a:lnTo>
                <a:lnTo>
                  <a:pt x="528941" y="1057879"/>
                </a:lnTo>
                <a:lnTo>
                  <a:pt x="0" y="0"/>
                </a:lnTo>
                <a:close/>
              </a:path>
            </a:pathLst>
          </a:custGeom>
          <a:gradFill flip="none" rotWithShape="1">
            <a:gsLst>
              <a:gs pos="82000">
                <a:srgbClr val="F9E6C5"/>
              </a:gs>
              <a:gs pos="40000">
                <a:srgbClr val="EBB95F"/>
              </a:gs>
              <a:gs pos="100000">
                <a:schemeClr val="bg1"/>
              </a:gs>
            </a:gsLst>
            <a:lin ang="16200000" scaled="1"/>
            <a:tileRect/>
          </a:gra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nchorCtr="1">
            <a:noAutofit/>
          </a:bodyPr>
          <a:lstStyle/>
          <a:p>
            <a:pPr lvl="0" algn="ctr"/>
            <a:endParaRPr lang="en-IN" sz="1400">
              <a:solidFill>
                <a:schemeClr val="bg1"/>
              </a:solidFill>
            </a:endParaRPr>
          </a:p>
        </p:txBody>
      </p:sp>
      <p:sp>
        <p:nvSpPr>
          <p:cNvPr id="6" name="Freeform: Shape 8">
            <a:extLst>
              <a:ext uri="{FF2B5EF4-FFF2-40B4-BE49-F238E27FC236}">
                <a16:creationId xmlns:a16="http://schemas.microsoft.com/office/drawing/2014/main" id="{D3D3EDEE-FD44-8FBE-C5EA-3FDB8464F0D1}"/>
              </a:ext>
            </a:extLst>
          </p:cNvPr>
          <p:cNvSpPr/>
          <p:nvPr userDrawn="1"/>
        </p:nvSpPr>
        <p:spPr>
          <a:xfrm>
            <a:off x="8153355" y="1"/>
            <a:ext cx="2532802" cy="1057879"/>
          </a:xfrm>
          <a:custGeom>
            <a:avLst/>
            <a:gdLst>
              <a:gd name="connsiteX0" fmla="*/ 0 w 2532802"/>
              <a:gd name="connsiteY0" fmla="*/ 0 h 1057879"/>
              <a:gd name="connsiteX1" fmla="*/ 2532802 w 2532802"/>
              <a:gd name="connsiteY1" fmla="*/ 0 h 1057879"/>
              <a:gd name="connsiteX2" fmla="*/ 2003862 w 2532802"/>
              <a:gd name="connsiteY2" fmla="*/ 1057879 h 1057879"/>
              <a:gd name="connsiteX3" fmla="*/ 528940 w 2532802"/>
              <a:gd name="connsiteY3" fmla="*/ 1057879 h 1057879"/>
              <a:gd name="connsiteX4" fmla="*/ 0 w 2532802"/>
              <a:gd name="connsiteY4" fmla="*/ 0 h 105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2802" h="1057879">
                <a:moveTo>
                  <a:pt x="0" y="0"/>
                </a:moveTo>
                <a:lnTo>
                  <a:pt x="2532802" y="0"/>
                </a:lnTo>
                <a:lnTo>
                  <a:pt x="2003862" y="1057879"/>
                </a:lnTo>
                <a:lnTo>
                  <a:pt x="528940" y="1057879"/>
                </a:lnTo>
                <a:lnTo>
                  <a:pt x="0" y="0"/>
                </a:lnTo>
                <a:close/>
              </a:path>
            </a:pathLst>
          </a:custGeom>
          <a:gradFill flip="none" rotWithShape="1">
            <a:gsLst>
              <a:gs pos="82000">
                <a:schemeClr val="tx2">
                  <a:lumMod val="20000"/>
                  <a:lumOff val="80000"/>
                </a:schemeClr>
              </a:gs>
              <a:gs pos="40000">
                <a:srgbClr val="C3C3C3"/>
              </a:gs>
              <a:gs pos="100000">
                <a:schemeClr val="bg1"/>
              </a:gs>
            </a:gsLst>
            <a:lin ang="16200000" scaled="1"/>
            <a:tileRect/>
          </a:gra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lvl="0" algn="ctr"/>
            <a:endParaRPr lang="en-IN" sz="1400">
              <a:solidFill>
                <a:schemeClr val="bg1"/>
              </a:solidFill>
            </a:endParaRPr>
          </a:p>
        </p:txBody>
      </p:sp>
      <p:sp>
        <p:nvSpPr>
          <p:cNvPr id="16" name="Freeform: Shape 9">
            <a:extLst>
              <a:ext uri="{FF2B5EF4-FFF2-40B4-BE49-F238E27FC236}">
                <a16:creationId xmlns:a16="http://schemas.microsoft.com/office/drawing/2014/main" id="{A2013497-599C-C461-D6B1-AE58A23C667B}"/>
              </a:ext>
            </a:extLst>
          </p:cNvPr>
          <p:cNvSpPr/>
          <p:nvPr userDrawn="1"/>
        </p:nvSpPr>
        <p:spPr>
          <a:xfrm>
            <a:off x="10236697" y="1"/>
            <a:ext cx="1955303" cy="2234729"/>
          </a:xfrm>
          <a:custGeom>
            <a:avLst/>
            <a:gdLst>
              <a:gd name="connsiteX0" fmla="*/ 558683 w 1955303"/>
              <a:gd name="connsiteY0" fmla="*/ 0 h 2234729"/>
              <a:gd name="connsiteX1" fmla="*/ 1955303 w 1955303"/>
              <a:gd name="connsiteY1" fmla="*/ 0 h 2234729"/>
              <a:gd name="connsiteX2" fmla="*/ 1955303 w 1955303"/>
              <a:gd name="connsiteY2" fmla="*/ 2234729 h 2234729"/>
              <a:gd name="connsiteX3" fmla="*/ 558683 w 1955303"/>
              <a:gd name="connsiteY3" fmla="*/ 2234729 h 2234729"/>
              <a:gd name="connsiteX4" fmla="*/ 0 w 1955303"/>
              <a:gd name="connsiteY4" fmla="*/ 1117365 h 2234729"/>
              <a:gd name="connsiteX5" fmla="*/ 558683 w 1955303"/>
              <a:gd name="connsiteY5" fmla="*/ 0 h 2234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55303" h="2234729">
                <a:moveTo>
                  <a:pt x="558683" y="0"/>
                </a:moveTo>
                <a:lnTo>
                  <a:pt x="1955303" y="0"/>
                </a:lnTo>
                <a:lnTo>
                  <a:pt x="1955303" y="2234729"/>
                </a:lnTo>
                <a:lnTo>
                  <a:pt x="558683" y="2234729"/>
                </a:lnTo>
                <a:lnTo>
                  <a:pt x="0" y="1117365"/>
                </a:lnTo>
                <a:lnTo>
                  <a:pt x="558683" y="0"/>
                </a:lnTo>
                <a:close/>
              </a:path>
            </a:pathLst>
          </a:custGeom>
          <a:gradFill flip="none" rotWithShape="1">
            <a:gsLst>
              <a:gs pos="82000">
                <a:srgbClr val="F9E6C5"/>
              </a:gs>
              <a:gs pos="40000">
                <a:srgbClr val="EBB95F"/>
              </a:gs>
              <a:gs pos="100000">
                <a:schemeClr val="bg1"/>
              </a:gs>
            </a:gsLst>
            <a:lin ang="0" scaled="1"/>
            <a:tileRect/>
          </a:gra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nchorCtr="1">
            <a:noAutofit/>
          </a:bodyPr>
          <a:lstStyle/>
          <a:p>
            <a:pPr algn="ctr"/>
            <a:endParaRPr lang="en-IN" sz="1400">
              <a:solidFill>
                <a:schemeClr val="bg1"/>
              </a:solidFill>
            </a:endParaRPr>
          </a:p>
        </p:txBody>
      </p:sp>
      <p:sp>
        <p:nvSpPr>
          <p:cNvPr id="18" name="Freeform: Shape 10">
            <a:extLst>
              <a:ext uri="{FF2B5EF4-FFF2-40B4-BE49-F238E27FC236}">
                <a16:creationId xmlns:a16="http://schemas.microsoft.com/office/drawing/2014/main" id="{1C21A00A-4A32-DCEE-6BB7-59CA7F2FFFFB}"/>
              </a:ext>
            </a:extLst>
          </p:cNvPr>
          <p:cNvSpPr/>
          <p:nvPr userDrawn="1"/>
        </p:nvSpPr>
        <p:spPr>
          <a:xfrm>
            <a:off x="10223997" y="2332570"/>
            <a:ext cx="1968003" cy="2234729"/>
          </a:xfrm>
          <a:custGeom>
            <a:avLst/>
            <a:gdLst>
              <a:gd name="connsiteX0" fmla="*/ 558683 w 1968003"/>
              <a:gd name="connsiteY0" fmla="*/ 0 h 2234729"/>
              <a:gd name="connsiteX1" fmla="*/ 1968003 w 1968003"/>
              <a:gd name="connsiteY1" fmla="*/ 0 h 2234729"/>
              <a:gd name="connsiteX2" fmla="*/ 1968003 w 1968003"/>
              <a:gd name="connsiteY2" fmla="*/ 2234729 h 2234729"/>
              <a:gd name="connsiteX3" fmla="*/ 558683 w 1968003"/>
              <a:gd name="connsiteY3" fmla="*/ 2234729 h 2234729"/>
              <a:gd name="connsiteX4" fmla="*/ 0 w 1968003"/>
              <a:gd name="connsiteY4" fmla="*/ 1117365 h 2234729"/>
              <a:gd name="connsiteX5" fmla="*/ 558683 w 1968003"/>
              <a:gd name="connsiteY5" fmla="*/ 0 h 2234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8003" h="2234729">
                <a:moveTo>
                  <a:pt x="558683" y="0"/>
                </a:moveTo>
                <a:lnTo>
                  <a:pt x="1968003" y="0"/>
                </a:lnTo>
                <a:lnTo>
                  <a:pt x="1968003" y="2234729"/>
                </a:lnTo>
                <a:lnTo>
                  <a:pt x="558683" y="2234729"/>
                </a:lnTo>
                <a:lnTo>
                  <a:pt x="0" y="1117365"/>
                </a:lnTo>
                <a:lnTo>
                  <a:pt x="558683" y="0"/>
                </a:lnTo>
                <a:close/>
              </a:path>
            </a:pathLst>
          </a:custGeom>
          <a:gradFill>
            <a:gsLst>
              <a:gs pos="82000">
                <a:schemeClr val="tx2">
                  <a:lumMod val="20000"/>
                  <a:lumOff val="80000"/>
                </a:schemeClr>
              </a:gs>
              <a:gs pos="40000">
                <a:srgbClr val="C3C3C3"/>
              </a:gs>
              <a:gs pos="100000">
                <a:schemeClr val="bg1"/>
              </a:gs>
            </a:gsLst>
            <a:lin ang="0" scaled="1"/>
          </a:gra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lvl="0" algn="ctr"/>
            <a:endParaRPr lang="en-IN" sz="1400">
              <a:solidFill>
                <a:schemeClr val="bg1"/>
              </a:solidFill>
            </a:endParaRPr>
          </a:p>
        </p:txBody>
      </p:sp>
      <p:sp>
        <p:nvSpPr>
          <p:cNvPr id="19" name="Hexagon 18">
            <a:extLst>
              <a:ext uri="{FF2B5EF4-FFF2-40B4-BE49-F238E27FC236}">
                <a16:creationId xmlns:a16="http://schemas.microsoft.com/office/drawing/2014/main" id="{0F9649C1-C3DD-A229-7890-D0D3288FE2D1}"/>
              </a:ext>
            </a:extLst>
          </p:cNvPr>
          <p:cNvSpPr/>
          <p:nvPr userDrawn="1"/>
        </p:nvSpPr>
        <p:spPr>
          <a:xfrm>
            <a:off x="5997826" y="1"/>
            <a:ext cx="2592288" cy="2234731"/>
          </a:xfrm>
          <a:prstGeom prst="hexagon">
            <a:avLst/>
          </a:prstGeom>
          <a:gradFill>
            <a:gsLst>
              <a:gs pos="82000">
                <a:schemeClr val="tx2">
                  <a:lumMod val="20000"/>
                  <a:lumOff val="80000"/>
                </a:schemeClr>
              </a:gs>
              <a:gs pos="40000">
                <a:srgbClr val="C3C3C3"/>
              </a:gs>
              <a:gs pos="100000">
                <a:schemeClr val="bg1"/>
              </a:gs>
            </a:gsLst>
            <a:lin ang="0" scaled="1"/>
          </a:gra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IN" sz="1400">
              <a:solidFill>
                <a:schemeClr val="bg1"/>
              </a:solidFill>
            </a:endParaRPr>
          </a:p>
        </p:txBody>
      </p:sp>
      <p:sp>
        <p:nvSpPr>
          <p:cNvPr id="20" name="Parallelogram 19">
            <a:extLst>
              <a:ext uri="{FF2B5EF4-FFF2-40B4-BE49-F238E27FC236}">
                <a16:creationId xmlns:a16="http://schemas.microsoft.com/office/drawing/2014/main" id="{CDAD4329-5203-37FD-6F56-8ED62832CC88}"/>
              </a:ext>
            </a:extLst>
          </p:cNvPr>
          <p:cNvSpPr/>
          <p:nvPr userDrawn="1"/>
        </p:nvSpPr>
        <p:spPr>
          <a:xfrm flipV="1">
            <a:off x="6581774" y="2332569"/>
            <a:ext cx="1683747" cy="498962"/>
          </a:xfrm>
          <a:prstGeom prst="parallelogram">
            <a:avLst>
              <a:gd name="adj" fmla="val 48862"/>
            </a:avLst>
          </a:prstGeom>
          <a:gradFill flip="none" rotWithShape="1">
            <a:gsLst>
              <a:gs pos="82000">
                <a:srgbClr val="F9E6C5"/>
              </a:gs>
              <a:gs pos="40000">
                <a:srgbClr val="EEB95E"/>
              </a:gs>
              <a:gs pos="100000">
                <a:schemeClr val="bg1"/>
              </a:gs>
            </a:gsLst>
            <a:lin ang="13500000" scaled="1"/>
            <a:tileRect/>
          </a:gra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nchorCtr="1">
            <a:noAutofit/>
          </a:bodyPr>
          <a:lstStyle/>
          <a:p>
            <a:pPr lvl="0" algn="ctr"/>
            <a:endParaRPr lang="en-IN" sz="1400">
              <a:solidFill>
                <a:schemeClr val="bg1"/>
              </a:solidFill>
            </a:endParaRPr>
          </a:p>
        </p:txBody>
      </p:sp>
      <p:sp>
        <p:nvSpPr>
          <p:cNvPr id="21" name="Parallelogram 20">
            <a:extLst>
              <a:ext uri="{FF2B5EF4-FFF2-40B4-BE49-F238E27FC236}">
                <a16:creationId xmlns:a16="http://schemas.microsoft.com/office/drawing/2014/main" id="{27FC3920-9D9A-B000-67E0-EF040D3FC53B}"/>
              </a:ext>
            </a:extLst>
          </p:cNvPr>
          <p:cNvSpPr/>
          <p:nvPr userDrawn="1"/>
        </p:nvSpPr>
        <p:spPr>
          <a:xfrm flipV="1">
            <a:off x="8687506" y="3498853"/>
            <a:ext cx="1683747" cy="498962"/>
          </a:xfrm>
          <a:prstGeom prst="parallelogram">
            <a:avLst>
              <a:gd name="adj" fmla="val 48862"/>
            </a:avLst>
          </a:prstGeom>
          <a:gradFill flip="none" rotWithShape="1">
            <a:gsLst>
              <a:gs pos="82000">
                <a:schemeClr val="tx2">
                  <a:lumMod val="20000"/>
                  <a:lumOff val="80000"/>
                </a:schemeClr>
              </a:gs>
              <a:gs pos="40000">
                <a:srgbClr val="C3C3C3"/>
              </a:gs>
              <a:gs pos="100000">
                <a:schemeClr val="bg1"/>
              </a:gs>
            </a:gsLst>
            <a:lin ang="13500000" scaled="1"/>
            <a:tileRect/>
          </a:gra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lvl="0" algn="ctr"/>
            <a:endParaRPr lang="en-IN" sz="1400">
              <a:solidFill>
                <a:schemeClr val="bg1"/>
              </a:solidFill>
            </a:endParaRPr>
          </a:p>
        </p:txBody>
      </p:sp>
      <p:sp>
        <p:nvSpPr>
          <p:cNvPr id="24" name="Parallelogram 23">
            <a:extLst>
              <a:ext uri="{FF2B5EF4-FFF2-40B4-BE49-F238E27FC236}">
                <a16:creationId xmlns:a16="http://schemas.microsoft.com/office/drawing/2014/main" id="{248C5FBA-8A89-7AAA-8B43-811355032365}"/>
              </a:ext>
            </a:extLst>
          </p:cNvPr>
          <p:cNvSpPr/>
          <p:nvPr userDrawn="1"/>
        </p:nvSpPr>
        <p:spPr>
          <a:xfrm flipV="1">
            <a:off x="4465497" y="1157253"/>
            <a:ext cx="1683747" cy="498962"/>
          </a:xfrm>
          <a:prstGeom prst="parallelogram">
            <a:avLst>
              <a:gd name="adj" fmla="val 48862"/>
            </a:avLst>
          </a:prstGeom>
          <a:gradFill flip="none" rotWithShape="1">
            <a:gsLst>
              <a:gs pos="82000">
                <a:schemeClr val="tx2">
                  <a:lumMod val="20000"/>
                  <a:lumOff val="80000"/>
                </a:schemeClr>
              </a:gs>
              <a:gs pos="40000">
                <a:srgbClr val="C3C3C3"/>
              </a:gs>
              <a:gs pos="100000">
                <a:schemeClr val="bg1"/>
              </a:gs>
            </a:gsLst>
            <a:lin ang="13500000" scaled="1"/>
            <a:tileRect/>
          </a:gra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lvl="0" algn="ctr"/>
            <a:endParaRPr lang="en-IN" sz="1400">
              <a:solidFill>
                <a:schemeClr val="bg1"/>
              </a:solidFill>
            </a:endParaRPr>
          </a:p>
        </p:txBody>
      </p:sp>
    </p:spTree>
    <p:extLst>
      <p:ext uri="{BB962C8B-B14F-4D97-AF65-F5344CB8AC3E}">
        <p14:creationId xmlns:p14="http://schemas.microsoft.com/office/powerpoint/2010/main" val="23192093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Full width">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1802" y="224645"/>
            <a:ext cx="11328400" cy="526070"/>
          </a:xfrm>
        </p:spPr>
        <p:txBody>
          <a:bodyPr/>
          <a:lstStyle/>
          <a:p>
            <a:r>
              <a:rPr lang="en-US"/>
              <a:t>Click to edit title</a:t>
            </a:r>
            <a:endParaRPr lang="en-GB"/>
          </a:p>
        </p:txBody>
      </p:sp>
      <p:sp>
        <p:nvSpPr>
          <p:cNvPr id="6" name="Text Placeholder 5"/>
          <p:cNvSpPr>
            <a:spLocks noGrp="1"/>
          </p:cNvSpPr>
          <p:nvPr>
            <p:ph type="body" sz="quarter" idx="12" hasCustomPrompt="1"/>
          </p:nvPr>
        </p:nvSpPr>
        <p:spPr>
          <a:xfrm>
            <a:off x="431802" y="889818"/>
            <a:ext cx="11329477" cy="265216"/>
          </a:xfrm>
        </p:spPr>
        <p:txBody>
          <a:bodyPr/>
          <a:lstStyle>
            <a:lvl1pPr>
              <a:defRPr>
                <a:solidFill>
                  <a:srgbClr val="002060"/>
                </a:solidFill>
              </a:defRPr>
            </a:lvl1pPr>
          </a:lstStyle>
          <a:p>
            <a:pPr lvl="0"/>
            <a:r>
              <a:rPr lang="en-US"/>
              <a:t>Click to edit sub-title</a:t>
            </a:r>
            <a:endParaRPr lang="en-GB"/>
          </a:p>
        </p:txBody>
      </p:sp>
      <p:sp>
        <p:nvSpPr>
          <p:cNvPr id="4" name="Text Placeholder 3">
            <a:extLst>
              <a:ext uri="{FF2B5EF4-FFF2-40B4-BE49-F238E27FC236}">
                <a16:creationId xmlns:a16="http://schemas.microsoft.com/office/drawing/2014/main" id="{64E57D24-8FBD-4A20-8753-46521BCF1478}"/>
              </a:ext>
            </a:extLst>
          </p:cNvPr>
          <p:cNvSpPr>
            <a:spLocks noGrp="1"/>
          </p:cNvSpPr>
          <p:nvPr>
            <p:ph type="body" sz="quarter" idx="13"/>
          </p:nvPr>
        </p:nvSpPr>
        <p:spPr>
          <a:xfrm>
            <a:off x="431802" y="1271836"/>
            <a:ext cx="11329477" cy="50400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8311082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p:bg>
      <p:bgPr>
        <a:solidFill>
          <a:schemeClr val="bg1"/>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38DC212-0AE6-F948-8CF9-6B641EC4B66F}"/>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32874360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8179C6-129B-4C48-8B26-A821A603791E}"/>
              </a:ext>
            </a:extLst>
          </p:cNvPr>
          <p:cNvGraphicFramePr>
            <a:graphicFrameLocks noChangeAspect="1"/>
          </p:cNvGraphicFramePr>
          <p:nvPr userDrawn="1">
            <p:custDataLst>
              <p:tags r:id="rId2"/>
            </p:custDataLst>
            <p:extLst>
              <p:ext uri="{D42A27DB-BD31-4B8C-83A1-F6EECF244321}">
                <p14:modId xmlns:p14="http://schemas.microsoft.com/office/powerpoint/2010/main" val="1777893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16" imgH="318" progId="TCLayout.ActiveDocument.1">
                  <p:embed/>
                </p:oleObj>
              </mc:Choice>
              <mc:Fallback>
                <p:oleObj name="think-cell Slide" r:id="rId4" imgW="316" imgH="318" progId="TCLayout.ActiveDocument.1">
                  <p:embed/>
                  <p:pic>
                    <p:nvPicPr>
                      <p:cNvPr id="5" name="Object 4" hidden="1">
                        <a:extLst>
                          <a:ext uri="{FF2B5EF4-FFF2-40B4-BE49-F238E27FC236}">
                            <a16:creationId xmlns:a16="http://schemas.microsoft.com/office/drawing/2014/main" id="{EE8179C6-129B-4C48-8B26-A821A60379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D11E9D1-9D59-4508-8137-DB480B8232CE}"/>
              </a:ext>
            </a:extLst>
          </p:cNvPr>
          <p:cNvSpPr>
            <a:spLocks noGrp="1"/>
          </p:cNvSpPr>
          <p:nvPr>
            <p:ph type="title"/>
          </p:nvPr>
        </p:nvSpPr>
        <p:spPr/>
        <p:txBody>
          <a:bodyPr vert="horz" lIns="0" tIns="0" rIns="0" bIns="0"/>
          <a:lstStyle>
            <a:lvl1pPr>
              <a:defRPr b="1">
                <a:solidFill>
                  <a:schemeClr val="tx1"/>
                </a:solidFill>
              </a:defRPr>
            </a:lvl1p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361027C1-30A2-4526-B6F8-5183C39D049B}"/>
              </a:ext>
            </a:extLst>
          </p:cNvPr>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ustDataLst>
      <p:tags r:id="rId1"/>
    </p:custDataLst>
    <p:extLst>
      <p:ext uri="{BB962C8B-B14F-4D97-AF65-F5344CB8AC3E}">
        <p14:creationId xmlns:p14="http://schemas.microsoft.com/office/powerpoint/2010/main" val="19263615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Slide">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22070DF-79D6-4235-8CE4-1C7AB90CBE23}"/>
              </a:ext>
            </a:extLst>
          </p:cNvPr>
          <p:cNvSpPr>
            <a:spLocks noGrp="1"/>
          </p:cNvSpPr>
          <p:nvPr>
            <p:ph type="title"/>
          </p:nvPr>
        </p:nvSpPr>
        <p:spPr/>
        <p:txBody>
          <a:bodyPr/>
          <a:lstStyle/>
          <a:p>
            <a:r>
              <a:rPr lang="en-US"/>
              <a:t>Click to edit Master title style</a:t>
            </a:r>
            <a:endParaRPr lang="en-GB"/>
          </a:p>
        </p:txBody>
      </p:sp>
      <p:sp>
        <p:nvSpPr>
          <p:cNvPr id="8" name="Slide Number Placeholder 5">
            <a:extLst>
              <a:ext uri="{FF2B5EF4-FFF2-40B4-BE49-F238E27FC236}">
                <a16:creationId xmlns:a16="http://schemas.microsoft.com/office/drawing/2014/main" id="{2D91D168-8E67-46E4-B94F-D8038BC21DC9}"/>
              </a:ext>
            </a:extLst>
          </p:cNvPr>
          <p:cNvSpPr>
            <a:spLocks noGrp="1"/>
          </p:cNvSpPr>
          <p:nvPr>
            <p:ph type="sldNum" sz="quarter" idx="4"/>
          </p:nvPr>
        </p:nvSpPr>
        <p:spPr>
          <a:xfrm>
            <a:off x="9238562" y="6356350"/>
            <a:ext cx="2743200" cy="365125"/>
          </a:xfrm>
          <a:prstGeom prst="rect">
            <a:avLst/>
          </a:prstGeom>
        </p:spPr>
        <p:txBody>
          <a:bodyPr vert="horz" lIns="91440" tIns="45720" rIns="91440" bIns="45720" rtlCol="0" anchor="ctr"/>
          <a:lstStyle>
            <a:lvl1pPr algn="r">
              <a:defRPr sz="1200">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fld id="{B8887534-9256-4D4A-AB4E-4EBB84A560FF}" type="slidenum">
              <a:rPr lang="en-GB" smtClean="0"/>
              <a:pPr/>
              <a:t>‹#›</a:t>
            </a:fld>
            <a:endParaRPr lang="en-GB"/>
          </a:p>
        </p:txBody>
      </p:sp>
    </p:spTree>
    <p:extLst>
      <p:ext uri="{BB962C8B-B14F-4D97-AF65-F5344CB8AC3E}">
        <p14:creationId xmlns:p14="http://schemas.microsoft.com/office/powerpoint/2010/main" val="2321359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ontact Details">
    <p:bg>
      <p:bgPr>
        <a:solidFill>
          <a:srgbClr val="EBB95F"/>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39DCF4E-9603-48D0-808B-47E8227C6F05}"/>
              </a:ext>
            </a:extLst>
          </p:cNvPr>
          <p:cNvSpPr txBox="1"/>
          <p:nvPr/>
        </p:nvSpPr>
        <p:spPr>
          <a:xfrm>
            <a:off x="6770356" y="2617001"/>
            <a:ext cx="4590981" cy="276999"/>
          </a:xfrm>
          <a:prstGeom prst="rect">
            <a:avLst/>
          </a:prstGeom>
          <a:noFill/>
        </p:spPr>
        <p:txBody>
          <a:bodyPr vert="horz" wrap="square" lIns="0" tIns="0" rIns="0" bIns="0" rtlCol="0">
            <a:spAutoFit/>
          </a:bodyPr>
          <a:lstStyle/>
          <a:p>
            <a:pPr marL="177800" indent="-177800" algn="l">
              <a:spcBef>
                <a:spcPts val="600"/>
              </a:spcBef>
              <a:spcAft>
                <a:spcPts val="0"/>
              </a:spcAft>
              <a:buClr>
                <a:srgbClr val="002060"/>
              </a:buClr>
            </a:pPr>
            <a:r>
              <a:rPr lang="en-IN" sz="1800" b="1">
                <a:solidFill>
                  <a:schemeClr val="bg1"/>
                </a:solidFill>
                <a:latin typeface="Tahoma" panose="020B0604030504040204" pitchFamily="34" charset="0"/>
                <a:ea typeface="Tahoma" panose="020B0604030504040204" pitchFamily="34" charset="0"/>
                <a:cs typeface="Tahoma" panose="020B0604030504040204" pitchFamily="34" charset="0"/>
              </a:rPr>
              <a:t>Contact</a:t>
            </a:r>
          </a:p>
        </p:txBody>
      </p:sp>
      <p:sp>
        <p:nvSpPr>
          <p:cNvPr id="5" name="Hexagon 4">
            <a:extLst>
              <a:ext uri="{FF2B5EF4-FFF2-40B4-BE49-F238E27FC236}">
                <a16:creationId xmlns:a16="http://schemas.microsoft.com/office/drawing/2014/main" id="{BF557EFA-EEC7-4631-819B-CB8241349D63}"/>
              </a:ext>
            </a:extLst>
          </p:cNvPr>
          <p:cNvSpPr/>
          <p:nvPr/>
        </p:nvSpPr>
        <p:spPr>
          <a:xfrm>
            <a:off x="6257581" y="2566931"/>
            <a:ext cx="385589" cy="352539"/>
          </a:xfrm>
          <a:prstGeom prst="hexagon">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US" sz="1400">
              <a:solidFill>
                <a:schemeClr val="bg1"/>
              </a:solidFill>
            </a:endParaRPr>
          </a:p>
        </p:txBody>
      </p:sp>
      <p:pic>
        <p:nvPicPr>
          <p:cNvPr id="6" name="Picture 5">
            <a:extLst>
              <a:ext uri="{FF2B5EF4-FFF2-40B4-BE49-F238E27FC236}">
                <a16:creationId xmlns:a16="http://schemas.microsoft.com/office/drawing/2014/main" id="{6ACDC212-FC68-4879-95F3-CD3172B2974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967730" y="5604610"/>
            <a:ext cx="2894244" cy="1231072"/>
          </a:xfrm>
          <a:prstGeom prst="rect">
            <a:avLst/>
          </a:prstGeom>
        </p:spPr>
      </p:pic>
      <p:sp>
        <p:nvSpPr>
          <p:cNvPr id="11" name="Text Placeholder 10">
            <a:extLst>
              <a:ext uri="{FF2B5EF4-FFF2-40B4-BE49-F238E27FC236}">
                <a16:creationId xmlns:a16="http://schemas.microsoft.com/office/drawing/2014/main" id="{4AD509FF-30BF-469B-A24A-DE805A547716}"/>
              </a:ext>
            </a:extLst>
          </p:cNvPr>
          <p:cNvSpPr>
            <a:spLocks noGrp="1"/>
          </p:cNvSpPr>
          <p:nvPr>
            <p:ph type="body" sz="quarter" idx="10" hasCustomPrompt="1"/>
          </p:nvPr>
        </p:nvSpPr>
        <p:spPr>
          <a:xfrm>
            <a:off x="6770356" y="3070226"/>
            <a:ext cx="4590981" cy="369332"/>
          </a:xfrm>
        </p:spPr>
        <p:txBody>
          <a:bodyPr>
            <a:spAutoFit/>
          </a:bodyPr>
          <a:lstStyle>
            <a:lvl1pPr>
              <a:spcBef>
                <a:spcPts val="0"/>
              </a:spcBef>
              <a:spcAft>
                <a:spcPts val="0"/>
              </a:spcAft>
              <a:buNone/>
              <a:defRPr sz="1800">
                <a:solidFill>
                  <a:schemeClr val="bg1"/>
                </a:solidFill>
                <a:latin typeface="Tahoma" panose="020B0604030504040204" pitchFamily="34" charset="0"/>
                <a:ea typeface="Tahoma" panose="020B0604030504040204" pitchFamily="34" charset="0"/>
                <a:cs typeface="Tahoma" panose="020B0604030504040204" pitchFamily="34" charset="0"/>
              </a:defRPr>
            </a:lvl1pPr>
            <a:lvl2pPr>
              <a:defRPr sz="1100"/>
            </a:lvl2pPr>
            <a:lvl3pPr>
              <a:defRPr sz="1100"/>
            </a:lvl3pPr>
            <a:lvl4pPr>
              <a:defRPr sz="1100"/>
            </a:lvl4pPr>
            <a:lvl5pPr>
              <a:defRPr sz="1100"/>
            </a:lvl5pPr>
          </a:lstStyle>
          <a:p>
            <a:pPr lvl="0"/>
            <a:r>
              <a:rPr lang="en-IN"/>
              <a:t>Deri Hughes</a:t>
            </a:r>
          </a:p>
        </p:txBody>
      </p:sp>
      <p:sp>
        <p:nvSpPr>
          <p:cNvPr id="12" name="Text Placeholder 10">
            <a:extLst>
              <a:ext uri="{FF2B5EF4-FFF2-40B4-BE49-F238E27FC236}">
                <a16:creationId xmlns:a16="http://schemas.microsoft.com/office/drawing/2014/main" id="{1AAE49A5-01DE-4EEE-82B1-37C47E13381F}"/>
              </a:ext>
            </a:extLst>
          </p:cNvPr>
          <p:cNvSpPr>
            <a:spLocks noGrp="1"/>
          </p:cNvSpPr>
          <p:nvPr>
            <p:ph type="body" sz="quarter" idx="11" hasCustomPrompt="1"/>
          </p:nvPr>
        </p:nvSpPr>
        <p:spPr>
          <a:xfrm>
            <a:off x="6770356" y="3484281"/>
            <a:ext cx="4590981" cy="369332"/>
          </a:xfrm>
        </p:spPr>
        <p:txBody>
          <a:bodyPr>
            <a:spAutoFit/>
          </a:bodyPr>
          <a:lstStyle>
            <a:lvl1pPr>
              <a:spcBef>
                <a:spcPts val="0"/>
              </a:spcBef>
              <a:spcAft>
                <a:spcPts val="0"/>
              </a:spcAft>
              <a:buNone/>
              <a:defRPr sz="1800">
                <a:solidFill>
                  <a:schemeClr val="bg1"/>
                </a:solidFill>
                <a:latin typeface="Tahoma" panose="020B0604030504040204" pitchFamily="34" charset="0"/>
                <a:ea typeface="Tahoma" panose="020B0604030504040204" pitchFamily="34" charset="0"/>
                <a:cs typeface="Tahoma" panose="020B0604030504040204" pitchFamily="34" charset="0"/>
              </a:defRPr>
            </a:lvl1pPr>
            <a:lvl2pPr>
              <a:defRPr sz="1100"/>
            </a:lvl2pPr>
            <a:lvl3pPr>
              <a:defRPr sz="1100"/>
            </a:lvl3pPr>
            <a:lvl4pPr>
              <a:defRPr sz="1100"/>
            </a:lvl4pPr>
            <a:lvl5pPr>
              <a:defRPr sz="1100"/>
            </a:lvl5pPr>
          </a:lstStyle>
          <a:p>
            <a:pPr lvl="0"/>
            <a:r>
              <a:rPr lang="en-IN"/>
              <a:t>deri.hughes@honeycombps.co.uk</a:t>
            </a:r>
            <a:endParaRPr lang="en-GB"/>
          </a:p>
        </p:txBody>
      </p:sp>
      <p:sp>
        <p:nvSpPr>
          <p:cNvPr id="7" name="Text Placeholder 10">
            <a:extLst>
              <a:ext uri="{FF2B5EF4-FFF2-40B4-BE49-F238E27FC236}">
                <a16:creationId xmlns:a16="http://schemas.microsoft.com/office/drawing/2014/main" id="{13B25393-52B5-4E6C-BEBC-F06EA5409F4E}"/>
              </a:ext>
            </a:extLst>
          </p:cNvPr>
          <p:cNvSpPr>
            <a:spLocks noGrp="1"/>
          </p:cNvSpPr>
          <p:nvPr>
            <p:ph type="body" sz="quarter" idx="12" hasCustomPrompt="1"/>
          </p:nvPr>
        </p:nvSpPr>
        <p:spPr>
          <a:xfrm>
            <a:off x="6770356" y="3887320"/>
            <a:ext cx="4590981" cy="369332"/>
          </a:xfrm>
        </p:spPr>
        <p:txBody>
          <a:bodyPr>
            <a:spAutoFit/>
          </a:bodyPr>
          <a:lstStyle>
            <a:lvl1pPr>
              <a:spcBef>
                <a:spcPts val="0"/>
              </a:spcBef>
              <a:spcAft>
                <a:spcPts val="0"/>
              </a:spcAft>
              <a:buNone/>
              <a:defRPr sz="1800">
                <a:solidFill>
                  <a:schemeClr val="bg1"/>
                </a:solidFill>
                <a:latin typeface="Tahoma" panose="020B0604030504040204" pitchFamily="34" charset="0"/>
                <a:ea typeface="Tahoma" panose="020B0604030504040204" pitchFamily="34" charset="0"/>
                <a:cs typeface="Tahoma" panose="020B0604030504040204" pitchFamily="34" charset="0"/>
              </a:defRPr>
            </a:lvl1pPr>
            <a:lvl2pPr>
              <a:defRPr sz="1100"/>
            </a:lvl2pPr>
            <a:lvl3pPr>
              <a:defRPr sz="1100"/>
            </a:lvl3pPr>
            <a:lvl4pPr>
              <a:defRPr sz="1100"/>
            </a:lvl4pPr>
            <a:lvl5pPr>
              <a:defRPr sz="1100"/>
            </a:lvl5pPr>
          </a:lstStyle>
          <a:p>
            <a:pPr lvl="0"/>
            <a:r>
              <a:rPr lang="en-IN"/>
              <a:t>www.honeycombps.co.uk</a:t>
            </a:r>
            <a:endParaRPr lang="en-GB"/>
          </a:p>
        </p:txBody>
      </p:sp>
    </p:spTree>
    <p:extLst>
      <p:ext uri="{BB962C8B-B14F-4D97-AF65-F5344CB8AC3E}">
        <p14:creationId xmlns:p14="http://schemas.microsoft.com/office/powerpoint/2010/main" val="28342783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Custom Layout">
  <p:cSld name="Custom Layout">
    <p:spTree>
      <p:nvGrpSpPr>
        <p:cNvPr id="1" name="Shape 23"/>
        <p:cNvGrpSpPr/>
        <p:nvPr/>
      </p:nvGrpSpPr>
      <p:grpSpPr>
        <a:xfrm>
          <a:off x="0" y="0"/>
          <a:ext cx="0" cy="0"/>
          <a:chOff x="0" y="0"/>
          <a:chExt cx="0" cy="0"/>
        </a:xfrm>
      </p:grpSpPr>
      <p:sp>
        <p:nvSpPr>
          <p:cNvPr id="24" name="Google Shape;24;p18"/>
          <p:cNvSpPr txBox="1">
            <a:spLocks noGrp="1"/>
          </p:cNvSpPr>
          <p:nvPr>
            <p:ph type="title"/>
          </p:nvPr>
        </p:nvSpPr>
        <p:spPr>
          <a:xfrm>
            <a:off x="480060" y="396102"/>
            <a:ext cx="9702190" cy="332347"/>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2400" b="1">
                <a:solidFill>
                  <a:srgbClr val="293460"/>
                </a:solidFill>
                <a:latin typeface="Segoe UI" panose="020B0502040204020203" pitchFamily="34" charset="0"/>
                <a:cs typeface="Segoe UI" panose="020B0502040204020203"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GB"/>
              <a:t>Click to edit Master title style</a:t>
            </a:r>
            <a:endParaRPr/>
          </a:p>
        </p:txBody>
      </p:sp>
      <p:sp>
        <p:nvSpPr>
          <p:cNvPr id="25" name="Google Shape;25;p18"/>
          <p:cNvSpPr txBox="1">
            <a:spLocks noGrp="1"/>
          </p:cNvSpPr>
          <p:nvPr>
            <p:ph type="sldNum" idx="12"/>
          </p:nvPr>
        </p:nvSpPr>
        <p:spPr>
          <a:xfrm>
            <a:off x="11255202" y="6613514"/>
            <a:ext cx="427489" cy="184666"/>
          </a:xfrm>
          <a:prstGeom prst="rect">
            <a:avLst/>
          </a:prstGeom>
          <a:noFill/>
          <a:ln>
            <a:noFill/>
          </a:ln>
        </p:spPr>
        <p:txBody>
          <a:bodyPr spcFirstLastPara="1" wrap="square" lIns="0" tIns="0" rIns="0" bIns="0" anchor="t" anchorCtr="0">
            <a:spAutoFit/>
          </a:bodyPr>
          <a:lstStyle>
            <a:lvl1pPr marL="25397" lvl="0" indent="0" algn="r">
              <a:lnSpc>
                <a:spcPct val="100000"/>
              </a:lnSpc>
              <a:spcBef>
                <a:spcPts val="0"/>
              </a:spcBef>
              <a:buNone/>
              <a:defRPr>
                <a:latin typeface="Arial" panose="020B0604020202020204" pitchFamily="34" charset="0"/>
                <a:cs typeface="Arial" panose="020B0604020202020204" pitchFamily="34" charset="0"/>
              </a:defRPr>
            </a:lvl1pPr>
            <a:lvl2pPr marL="25397" lvl="1" indent="0" algn="l">
              <a:lnSpc>
                <a:spcPct val="100000"/>
              </a:lnSpc>
              <a:spcBef>
                <a:spcPts val="0"/>
              </a:spcBef>
              <a:buNone/>
              <a:defRPr/>
            </a:lvl2pPr>
            <a:lvl3pPr marL="25397" lvl="2" indent="0" algn="l">
              <a:lnSpc>
                <a:spcPct val="100000"/>
              </a:lnSpc>
              <a:spcBef>
                <a:spcPts val="0"/>
              </a:spcBef>
              <a:buNone/>
              <a:defRPr/>
            </a:lvl3pPr>
            <a:lvl4pPr marL="25397" lvl="3" indent="0" algn="l">
              <a:lnSpc>
                <a:spcPct val="100000"/>
              </a:lnSpc>
              <a:spcBef>
                <a:spcPts val="0"/>
              </a:spcBef>
              <a:buNone/>
              <a:defRPr/>
            </a:lvl4pPr>
            <a:lvl5pPr marL="25397" lvl="4" indent="0" algn="l">
              <a:lnSpc>
                <a:spcPct val="100000"/>
              </a:lnSpc>
              <a:spcBef>
                <a:spcPts val="0"/>
              </a:spcBef>
              <a:buNone/>
              <a:defRPr/>
            </a:lvl5pPr>
            <a:lvl6pPr marL="25397" lvl="5" indent="0" algn="l">
              <a:lnSpc>
                <a:spcPct val="100000"/>
              </a:lnSpc>
              <a:spcBef>
                <a:spcPts val="0"/>
              </a:spcBef>
              <a:buNone/>
              <a:defRPr/>
            </a:lvl6pPr>
            <a:lvl7pPr marL="25397" lvl="6" indent="0" algn="l">
              <a:lnSpc>
                <a:spcPct val="100000"/>
              </a:lnSpc>
              <a:spcBef>
                <a:spcPts val="0"/>
              </a:spcBef>
              <a:buNone/>
              <a:defRPr/>
            </a:lvl7pPr>
            <a:lvl8pPr marL="25397" lvl="7" indent="0" algn="l">
              <a:lnSpc>
                <a:spcPct val="100000"/>
              </a:lnSpc>
              <a:spcBef>
                <a:spcPts val="0"/>
              </a:spcBef>
              <a:buNone/>
              <a:defRPr/>
            </a:lvl8pPr>
            <a:lvl9pPr marL="25397" lvl="8" indent="0" algn="l">
              <a:lnSpc>
                <a:spcPct val="100000"/>
              </a:lnSpc>
              <a:spcBef>
                <a:spcPts val="0"/>
              </a:spcBef>
              <a:buNone/>
              <a:defRPr/>
            </a:lvl9pPr>
          </a:lstStyle>
          <a:p>
            <a:fld id="{96D14A1E-9FE1-4CE5-86FF-D10CAE2D11D0}" type="slidenum">
              <a:rPr lang="en-GB" smtClean="0"/>
              <a:t>‹#›</a:t>
            </a:fld>
            <a:endParaRPr lang="en-GB"/>
          </a:p>
        </p:txBody>
      </p:sp>
      <p:sp>
        <p:nvSpPr>
          <p:cNvPr id="26" name="Google Shape;26;p18"/>
          <p:cNvSpPr txBox="1">
            <a:spLocks noGrp="1"/>
          </p:cNvSpPr>
          <p:nvPr>
            <p:ph type="body" idx="1"/>
          </p:nvPr>
        </p:nvSpPr>
        <p:spPr>
          <a:xfrm>
            <a:off x="480059" y="1332001"/>
            <a:ext cx="5400000" cy="4860000"/>
          </a:xfrm>
          <a:prstGeom prst="rect">
            <a:avLst/>
          </a:prstGeom>
          <a:noFill/>
          <a:ln>
            <a:noFill/>
          </a:ln>
        </p:spPr>
        <p:txBody>
          <a:bodyPr spcFirstLastPara="1" wrap="square" lIns="0" tIns="0" rIns="0" bIns="0" anchor="t" anchorCtr="0">
            <a:noAutofit/>
          </a:bodyPr>
          <a:lstStyle>
            <a:lvl1pPr marL="457154" lvl="0" indent="-380962" algn="l">
              <a:spcBef>
                <a:spcPts val="0"/>
              </a:spcBef>
              <a:spcAft>
                <a:spcPts val="0"/>
              </a:spcAft>
              <a:buClr>
                <a:srgbClr val="293460"/>
              </a:buClr>
              <a:buSzPts val="2400"/>
              <a:buFont typeface="Noto Sans Symbols"/>
              <a:buChar char="▪"/>
              <a:defRPr sz="2133">
                <a:solidFill>
                  <a:srgbClr val="595959"/>
                </a:solidFill>
              </a:defRPr>
            </a:lvl1pPr>
            <a:lvl2pPr marL="914309" lvl="1" indent="-380962" algn="l">
              <a:spcBef>
                <a:spcPts val="0"/>
              </a:spcBef>
              <a:spcAft>
                <a:spcPts val="0"/>
              </a:spcAft>
              <a:buClr>
                <a:schemeClr val="accent1"/>
              </a:buClr>
              <a:buSzPts val="2400"/>
              <a:buFont typeface="Noto Sans Symbols"/>
              <a:buChar char="▪"/>
              <a:defRPr sz="2400">
                <a:solidFill>
                  <a:schemeClr val="accent1"/>
                </a:solidFill>
              </a:defRPr>
            </a:lvl2pPr>
            <a:lvl3pPr marL="1371463" lvl="2" indent="-355564" algn="l">
              <a:spcBef>
                <a:spcPts val="0"/>
              </a:spcBef>
              <a:spcAft>
                <a:spcPts val="0"/>
              </a:spcAft>
              <a:buClr>
                <a:schemeClr val="accent1"/>
              </a:buClr>
              <a:buSzPts val="2000"/>
              <a:buFont typeface="Courier New"/>
              <a:buChar char="o"/>
              <a:defRPr sz="2000">
                <a:solidFill>
                  <a:schemeClr val="accent1"/>
                </a:solidFill>
              </a:defRPr>
            </a:lvl3pPr>
            <a:lvl4pPr marL="1828617" lvl="3" indent="-342866" algn="l">
              <a:spcBef>
                <a:spcPts val="0"/>
              </a:spcBef>
              <a:spcAft>
                <a:spcPts val="0"/>
              </a:spcAft>
              <a:buClr>
                <a:schemeClr val="accent1"/>
              </a:buClr>
              <a:buSzPts val="1800"/>
              <a:buFont typeface="Calibri"/>
              <a:buChar char="-"/>
              <a:defRPr>
                <a:solidFill>
                  <a:schemeClr val="accent1"/>
                </a:solidFill>
              </a:defRPr>
            </a:lvl4pPr>
            <a:lvl5pPr marL="2285771" lvl="4" indent="-342866" algn="l">
              <a:spcBef>
                <a:spcPts val="0"/>
              </a:spcBef>
              <a:spcAft>
                <a:spcPts val="0"/>
              </a:spcAft>
              <a:buClr>
                <a:schemeClr val="accent1"/>
              </a:buClr>
              <a:buSzPts val="1800"/>
              <a:buFont typeface="Calibri"/>
              <a:buChar char="-"/>
              <a:defRPr>
                <a:solidFill>
                  <a:schemeClr val="accent1"/>
                </a:solidFill>
              </a:defRPr>
            </a:lvl5pPr>
            <a:lvl6pPr marL="2742926" lvl="5" indent="-228577" algn="l">
              <a:spcBef>
                <a:spcPts val="0"/>
              </a:spcBef>
              <a:spcAft>
                <a:spcPts val="0"/>
              </a:spcAft>
              <a:buSzPts val="1400"/>
              <a:buNone/>
              <a:defRPr/>
            </a:lvl6pPr>
            <a:lvl7pPr marL="3200080" lvl="6" indent="-228577" algn="l">
              <a:spcBef>
                <a:spcPts val="0"/>
              </a:spcBef>
              <a:spcAft>
                <a:spcPts val="0"/>
              </a:spcAft>
              <a:buSzPts val="1400"/>
              <a:buNone/>
              <a:defRPr/>
            </a:lvl7pPr>
            <a:lvl8pPr marL="3657234" lvl="7" indent="-228577" algn="l">
              <a:spcBef>
                <a:spcPts val="0"/>
              </a:spcBef>
              <a:spcAft>
                <a:spcPts val="0"/>
              </a:spcAft>
              <a:buSzPts val="1400"/>
              <a:buNone/>
              <a:defRPr/>
            </a:lvl8pPr>
            <a:lvl9pPr marL="4114389" lvl="8" indent="-228577" algn="l">
              <a:spcBef>
                <a:spcPts val="0"/>
              </a:spcBef>
              <a:spcAft>
                <a:spcPts val="0"/>
              </a:spcAft>
              <a:buSzPts val="1400"/>
              <a:buNone/>
              <a:defRPr/>
            </a:lvl9pPr>
          </a:lstStyle>
          <a:p>
            <a:pPr lvl="0"/>
            <a:r>
              <a:rPr lang="en-GB"/>
              <a:t>Click to edit Master text styles</a:t>
            </a:r>
          </a:p>
        </p:txBody>
      </p:sp>
      <p:sp>
        <p:nvSpPr>
          <p:cNvPr id="27" name="Google Shape;27;p18"/>
          <p:cNvSpPr txBox="1">
            <a:spLocks noGrp="1"/>
          </p:cNvSpPr>
          <p:nvPr>
            <p:ph type="body" idx="2"/>
          </p:nvPr>
        </p:nvSpPr>
        <p:spPr>
          <a:xfrm>
            <a:off x="6282690" y="1332001"/>
            <a:ext cx="5400000" cy="4860000"/>
          </a:xfrm>
          <a:prstGeom prst="rect">
            <a:avLst/>
          </a:prstGeom>
          <a:noFill/>
          <a:ln>
            <a:noFill/>
          </a:ln>
        </p:spPr>
        <p:txBody>
          <a:bodyPr spcFirstLastPara="1" wrap="square" lIns="0" tIns="0" rIns="0" bIns="0" anchor="t" anchorCtr="0">
            <a:noAutofit/>
          </a:bodyPr>
          <a:lstStyle>
            <a:lvl1pPr marL="457154" lvl="0" indent="-380962" algn="l">
              <a:spcBef>
                <a:spcPts val="0"/>
              </a:spcBef>
              <a:spcAft>
                <a:spcPts val="0"/>
              </a:spcAft>
              <a:buClr>
                <a:srgbClr val="293460"/>
              </a:buClr>
              <a:buSzPts val="2400"/>
              <a:buFont typeface="Noto Sans Symbols"/>
              <a:buChar char="▪"/>
              <a:defRPr sz="2133">
                <a:solidFill>
                  <a:srgbClr val="595959"/>
                </a:solidFill>
              </a:defRPr>
            </a:lvl1pPr>
            <a:lvl2pPr marL="914309" lvl="1" indent="-380962" algn="l">
              <a:spcBef>
                <a:spcPts val="0"/>
              </a:spcBef>
              <a:spcAft>
                <a:spcPts val="0"/>
              </a:spcAft>
              <a:buClr>
                <a:schemeClr val="accent1"/>
              </a:buClr>
              <a:buSzPts val="2400"/>
              <a:buFont typeface="Noto Sans Symbols"/>
              <a:buChar char="▪"/>
              <a:defRPr sz="2400">
                <a:solidFill>
                  <a:schemeClr val="accent1"/>
                </a:solidFill>
              </a:defRPr>
            </a:lvl2pPr>
            <a:lvl3pPr marL="1371463" lvl="2" indent="-355564" algn="l">
              <a:spcBef>
                <a:spcPts val="0"/>
              </a:spcBef>
              <a:spcAft>
                <a:spcPts val="0"/>
              </a:spcAft>
              <a:buClr>
                <a:schemeClr val="accent1"/>
              </a:buClr>
              <a:buSzPts val="2000"/>
              <a:buFont typeface="Courier New"/>
              <a:buChar char="o"/>
              <a:defRPr sz="2000">
                <a:solidFill>
                  <a:schemeClr val="accent1"/>
                </a:solidFill>
              </a:defRPr>
            </a:lvl3pPr>
            <a:lvl4pPr marL="1828617" lvl="3" indent="-342866" algn="l">
              <a:spcBef>
                <a:spcPts val="0"/>
              </a:spcBef>
              <a:spcAft>
                <a:spcPts val="0"/>
              </a:spcAft>
              <a:buClr>
                <a:schemeClr val="accent1"/>
              </a:buClr>
              <a:buSzPts val="1800"/>
              <a:buFont typeface="Calibri"/>
              <a:buChar char="-"/>
              <a:defRPr>
                <a:solidFill>
                  <a:schemeClr val="accent1"/>
                </a:solidFill>
              </a:defRPr>
            </a:lvl4pPr>
            <a:lvl5pPr marL="2285771" lvl="4" indent="-342866" algn="l">
              <a:spcBef>
                <a:spcPts val="0"/>
              </a:spcBef>
              <a:spcAft>
                <a:spcPts val="0"/>
              </a:spcAft>
              <a:buClr>
                <a:schemeClr val="accent1"/>
              </a:buClr>
              <a:buSzPts val="1800"/>
              <a:buFont typeface="Calibri"/>
              <a:buChar char="-"/>
              <a:defRPr>
                <a:solidFill>
                  <a:schemeClr val="accent1"/>
                </a:solidFill>
              </a:defRPr>
            </a:lvl5pPr>
            <a:lvl6pPr marL="2742926" lvl="5" indent="-228577" algn="l">
              <a:spcBef>
                <a:spcPts val="0"/>
              </a:spcBef>
              <a:spcAft>
                <a:spcPts val="0"/>
              </a:spcAft>
              <a:buSzPts val="1400"/>
              <a:buNone/>
              <a:defRPr/>
            </a:lvl6pPr>
            <a:lvl7pPr marL="3200080" lvl="6" indent="-228577" algn="l">
              <a:spcBef>
                <a:spcPts val="0"/>
              </a:spcBef>
              <a:spcAft>
                <a:spcPts val="0"/>
              </a:spcAft>
              <a:buSzPts val="1400"/>
              <a:buNone/>
              <a:defRPr/>
            </a:lvl7pPr>
            <a:lvl8pPr marL="3657234" lvl="7" indent="-228577" algn="l">
              <a:spcBef>
                <a:spcPts val="0"/>
              </a:spcBef>
              <a:spcAft>
                <a:spcPts val="0"/>
              </a:spcAft>
              <a:buSzPts val="1400"/>
              <a:buNone/>
              <a:defRPr/>
            </a:lvl8pPr>
            <a:lvl9pPr marL="4114389" lvl="8" indent="-228577" algn="l">
              <a:spcBef>
                <a:spcPts val="0"/>
              </a:spcBef>
              <a:spcAft>
                <a:spcPts val="0"/>
              </a:spcAft>
              <a:buSzPts val="1400"/>
              <a:buNone/>
              <a:defRPr/>
            </a:lvl9pPr>
          </a:lstStyle>
          <a:p>
            <a:pPr lvl="0"/>
            <a:r>
              <a:rPr lang="en-GB"/>
              <a:t>Click to edit Master text styles</a:t>
            </a:r>
          </a:p>
        </p:txBody>
      </p:sp>
      <p:cxnSp>
        <p:nvCxnSpPr>
          <p:cNvPr id="10" name="Straight Connector 9">
            <a:extLst>
              <a:ext uri="{FF2B5EF4-FFF2-40B4-BE49-F238E27FC236}">
                <a16:creationId xmlns:a16="http://schemas.microsoft.com/office/drawing/2014/main" id="{84131A20-3A43-40E2-A7B0-BFCBC6098273}"/>
              </a:ext>
            </a:extLst>
          </p:cNvPr>
          <p:cNvCxnSpPr>
            <a:cxnSpLocks/>
          </p:cNvCxnSpPr>
          <p:nvPr/>
        </p:nvCxnSpPr>
        <p:spPr>
          <a:xfrm>
            <a:off x="480059" y="910338"/>
            <a:ext cx="11236248" cy="0"/>
          </a:xfrm>
          <a:prstGeom prst="line">
            <a:avLst/>
          </a:prstGeom>
          <a:ln w="38100">
            <a:gradFill flip="none" rotWithShape="1">
              <a:gsLst>
                <a:gs pos="0">
                  <a:srgbClr val="EBB95F"/>
                </a:gs>
                <a:gs pos="100000">
                  <a:schemeClr val="tx2">
                    <a:lumMod val="20000"/>
                    <a:lumOff val="80000"/>
                  </a:schemeClr>
                </a:gs>
              </a:gsLst>
              <a:lin ang="0" scaled="1"/>
              <a:tileRect/>
            </a:gra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9453231"/>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3108E7F-4B5B-4152-82E4-09DB6F1A543C}"/>
              </a:ext>
            </a:extLst>
          </p:cNvPr>
          <p:cNvSpPr>
            <a:spLocks noGrp="1"/>
          </p:cNvSpPr>
          <p:nvPr>
            <p:ph type="dt" sz="half" idx="10"/>
          </p:nvPr>
        </p:nvSpPr>
        <p:spPr/>
        <p:txBody>
          <a:bodyPr/>
          <a:lstStyle/>
          <a:p>
            <a:fld id="{E7ECC8F6-961C-480B-B5E2-41CA79645303}" type="datetimeFigureOut">
              <a:rPr lang="en-GB" smtClean="0"/>
              <a:t>30/11/2024</a:t>
            </a:fld>
            <a:endParaRPr lang="en-GB"/>
          </a:p>
        </p:txBody>
      </p:sp>
      <p:sp>
        <p:nvSpPr>
          <p:cNvPr id="3" name="Footer Placeholder 2">
            <a:extLst>
              <a:ext uri="{FF2B5EF4-FFF2-40B4-BE49-F238E27FC236}">
                <a16:creationId xmlns:a16="http://schemas.microsoft.com/office/drawing/2014/main" id="{FBB1A4F7-4BD8-4C54-B87D-620B49632412}"/>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8381CCC8-E224-4015-ADB4-358179A83B41}"/>
              </a:ext>
            </a:extLst>
          </p:cNvPr>
          <p:cNvSpPr>
            <a:spLocks noGrp="1"/>
          </p:cNvSpPr>
          <p:nvPr>
            <p:ph type="sldNum" sz="quarter" idx="12"/>
          </p:nvPr>
        </p:nvSpPr>
        <p:spPr/>
        <p:txBody>
          <a:bodyPr/>
          <a:lstStyle/>
          <a:p>
            <a:fld id="{96D14A1E-9FE1-4CE5-86FF-D10CAE2D11D0}" type="slidenum">
              <a:rPr lang="en-GB" smtClean="0"/>
              <a:t>‹#›</a:t>
            </a:fld>
            <a:endParaRPr lang="en-GB"/>
          </a:p>
        </p:txBody>
      </p:sp>
    </p:spTree>
    <p:extLst>
      <p:ext uri="{BB962C8B-B14F-4D97-AF65-F5344CB8AC3E}">
        <p14:creationId xmlns:p14="http://schemas.microsoft.com/office/powerpoint/2010/main" val="27475157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common page_3_row_title_nosubtitle">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48CF744C-B14F-4555-92C0-9A193AEDCE1B}"/>
              </a:ext>
            </a:extLst>
          </p:cNvPr>
          <p:cNvSpPr>
            <a:spLocks noGrp="1"/>
          </p:cNvSpPr>
          <p:nvPr>
            <p:ph type="sldNum" sz="quarter" idx="4"/>
          </p:nvPr>
        </p:nvSpPr>
        <p:spPr>
          <a:xfrm>
            <a:off x="9271612"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6D14A1E-9FE1-4CE5-86FF-D10CAE2D11D0}" type="slidenum">
              <a:rPr lang="en-GB" smtClean="0"/>
              <a:t>‹#›</a:t>
            </a:fld>
            <a:endParaRPr lang="en-GB"/>
          </a:p>
        </p:txBody>
      </p:sp>
    </p:spTree>
    <p:extLst>
      <p:ext uri="{BB962C8B-B14F-4D97-AF65-F5344CB8AC3E}">
        <p14:creationId xmlns:p14="http://schemas.microsoft.com/office/powerpoint/2010/main" val="23097904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F1DD7D71-A5CB-4296-8F2E-6ED0465DF5E3}"/>
              </a:ext>
            </a:extLst>
          </p:cNvPr>
          <p:cNvSpPr>
            <a:spLocks noGrp="1"/>
          </p:cNvSpPr>
          <p:nvPr>
            <p:ph type="sldNum" sz="quarter" idx="4"/>
          </p:nvPr>
        </p:nvSpPr>
        <p:spPr>
          <a:xfrm>
            <a:off x="9350829" y="6356350"/>
            <a:ext cx="2743200" cy="365125"/>
          </a:xfrm>
          <a:prstGeom prst="rect">
            <a:avLst/>
          </a:prstGeom>
        </p:spPr>
        <p:txBody>
          <a:bodyPr vert="horz" lIns="91440" tIns="45720" rIns="91440" bIns="45720" rtlCol="0" anchor="ctr"/>
          <a:lstStyle>
            <a:lvl1pPr algn="r">
              <a:defRPr sz="1400">
                <a:solidFill>
                  <a:schemeClr val="tx1">
                    <a:tint val="75000"/>
                  </a:schemeClr>
                </a:solidFill>
                <a:latin typeface="Tahoma" panose="020B0604030504040204" pitchFamily="34" charset="0"/>
                <a:ea typeface="Tahoma" panose="020B0604030504040204" pitchFamily="34" charset="0"/>
                <a:cs typeface="Tahoma" panose="020B0604030504040204" pitchFamily="34" charset="0"/>
              </a:defRPr>
            </a:lvl1pPr>
          </a:lstStyle>
          <a:p>
            <a:fld id="{96D14A1E-9FE1-4CE5-86FF-D10CAE2D11D0}" type="slidenum">
              <a:rPr lang="en-GB" smtClean="0"/>
              <a:t>‹#›</a:t>
            </a:fld>
            <a:endParaRPr lang="en-GB"/>
          </a:p>
        </p:txBody>
      </p:sp>
      <p:sp>
        <p:nvSpPr>
          <p:cNvPr id="4" name="Title Placeholder 4">
            <a:extLst>
              <a:ext uri="{FF2B5EF4-FFF2-40B4-BE49-F238E27FC236}">
                <a16:creationId xmlns:a16="http://schemas.microsoft.com/office/drawing/2014/main" id="{E3B4F0F0-051A-4E1F-AB9B-FD03ECE3DA31}"/>
              </a:ext>
            </a:extLst>
          </p:cNvPr>
          <p:cNvSpPr>
            <a:spLocks noGrp="1"/>
          </p:cNvSpPr>
          <p:nvPr>
            <p:ph type="title"/>
          </p:nvPr>
        </p:nvSpPr>
        <p:spPr>
          <a:xfrm>
            <a:off x="557823" y="365125"/>
            <a:ext cx="10515600" cy="387798"/>
          </a:xfrm>
          <a:prstGeom prst="rect">
            <a:avLst/>
          </a:prstGeom>
          <a:noFill/>
          <a:ln>
            <a:noFill/>
          </a:ln>
        </p:spPr>
        <p:txBody>
          <a:bodyPr spcFirstLastPara="1" vert="horz" wrap="square" lIns="0" tIns="0" rIns="0" bIns="0" rtlCol="0" anchor="t" anchorCtr="0">
            <a:spAutoFit/>
          </a:bodyPr>
          <a:lstStyle/>
          <a:p>
            <a:pPr lvl="0">
              <a:spcBef>
                <a:spcPts val="0"/>
              </a:spcBef>
              <a:spcAft>
                <a:spcPts val="0"/>
              </a:spcAft>
              <a:buSzPts val="1400"/>
            </a:pPr>
            <a:r>
              <a:rPr lang="en-GB"/>
              <a:t>Click to edit Master title style</a:t>
            </a:r>
          </a:p>
        </p:txBody>
      </p:sp>
    </p:spTree>
    <p:extLst>
      <p:ext uri="{BB962C8B-B14F-4D97-AF65-F5344CB8AC3E}">
        <p14:creationId xmlns:p14="http://schemas.microsoft.com/office/powerpoint/2010/main" val="24773898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ontents -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28846490"/>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955" y="1589"/>
                        <a:ext cx="1953"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E87CA36A-0068-4D42-BA64-A50206433CB0}"/>
              </a:ext>
            </a:extLst>
          </p:cNvPr>
          <p:cNvSpPr>
            <a:spLocks noGrp="1"/>
          </p:cNvSpPr>
          <p:nvPr>
            <p:ph type="sldNum" sz="quarter" idx="4"/>
          </p:nvPr>
        </p:nvSpPr>
        <p:spPr>
          <a:xfrm>
            <a:off x="9238562" y="6356352"/>
            <a:ext cx="2743200" cy="365125"/>
          </a:xfrm>
          <a:prstGeom prst="rect">
            <a:avLst/>
          </a:prstGeom>
        </p:spPr>
        <p:txBody>
          <a:bodyPr vert="horz" lIns="91440" tIns="45720" rIns="91440" bIns="45720" rtlCol="0" anchor="ctr"/>
          <a:lstStyle>
            <a:lvl1pPr algn="r">
              <a:defRPr sz="975">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fld id="{B8887534-9256-4D4A-AB4E-4EBB84A560FF}" type="slidenum">
              <a:rPr lang="en-GB" smtClean="0"/>
              <a:pPr/>
              <a:t>‹#›</a:t>
            </a:fld>
            <a:endParaRPr lang="en-GB"/>
          </a:p>
        </p:txBody>
      </p:sp>
      <p:sp>
        <p:nvSpPr>
          <p:cNvPr id="10" name="Text Placeholder 9">
            <a:extLst>
              <a:ext uri="{FF2B5EF4-FFF2-40B4-BE49-F238E27FC236}">
                <a16:creationId xmlns:a16="http://schemas.microsoft.com/office/drawing/2014/main" id="{DD52826B-434C-4578-9FAA-8255D303EEC1}"/>
              </a:ext>
            </a:extLst>
          </p:cNvPr>
          <p:cNvSpPr>
            <a:spLocks noGrp="1"/>
          </p:cNvSpPr>
          <p:nvPr>
            <p:ph type="body" sz="quarter" idx="10" hasCustomPrompt="1"/>
          </p:nvPr>
        </p:nvSpPr>
        <p:spPr>
          <a:xfrm>
            <a:off x="924288" y="1619198"/>
            <a:ext cx="10325505" cy="1355725"/>
          </a:xfrm>
        </p:spPr>
        <p:txBody>
          <a:bodyPr/>
          <a:lstStyle>
            <a:lvl1pPr>
              <a:spcBef>
                <a:spcPts val="3000"/>
              </a:spcBef>
              <a:defRPr sz="2400" b="0"/>
            </a:lvl1pPr>
          </a:lstStyle>
          <a:p>
            <a:pPr lvl="0"/>
            <a:r>
              <a:rPr lang="en-US"/>
              <a:t>Agenda Point 1</a:t>
            </a:r>
          </a:p>
          <a:p>
            <a:pPr lvl="0"/>
            <a:r>
              <a:rPr lang="en-US"/>
              <a:t>Agenda Point 2</a:t>
            </a:r>
          </a:p>
          <a:p>
            <a:pPr lvl="0"/>
            <a:r>
              <a:rPr lang="en-US"/>
              <a:t>Agenda Point 3</a:t>
            </a:r>
          </a:p>
          <a:p>
            <a:pPr lvl="0"/>
            <a:r>
              <a:rPr lang="en-US"/>
              <a:t>Agenda Point 4</a:t>
            </a:r>
            <a:endParaRPr lang="en-GB"/>
          </a:p>
        </p:txBody>
      </p:sp>
      <p:sp>
        <p:nvSpPr>
          <p:cNvPr id="13" name="Title 6">
            <a:extLst>
              <a:ext uri="{FF2B5EF4-FFF2-40B4-BE49-F238E27FC236}">
                <a16:creationId xmlns:a16="http://schemas.microsoft.com/office/drawing/2014/main" id="{437D4389-E4CF-48A9-A12F-CD76284EE337}"/>
              </a:ext>
            </a:extLst>
          </p:cNvPr>
          <p:cNvSpPr>
            <a:spLocks noGrp="1"/>
          </p:cNvSpPr>
          <p:nvPr>
            <p:ph type="title" hasCustomPrompt="1"/>
          </p:nvPr>
        </p:nvSpPr>
        <p:spPr>
          <a:xfrm>
            <a:off x="485661" y="365126"/>
            <a:ext cx="10515600" cy="315912"/>
          </a:xfrm>
        </p:spPr>
        <p:txBody>
          <a:bodyPr/>
          <a:lstStyle>
            <a:lvl1pPr>
              <a:defRPr sz="2800"/>
            </a:lvl1pPr>
          </a:lstStyle>
          <a:p>
            <a:r>
              <a:rPr lang="en-US"/>
              <a:t>What’s in this deck</a:t>
            </a:r>
            <a:endParaRPr lang="en-GB"/>
          </a:p>
        </p:txBody>
      </p:sp>
    </p:spTree>
    <p:extLst>
      <p:ext uri="{BB962C8B-B14F-4D97-AF65-F5344CB8AC3E}">
        <p14:creationId xmlns:p14="http://schemas.microsoft.com/office/powerpoint/2010/main" val="23869123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xt slid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3D08E2C-18FC-432D-8B17-1F024152CB13}"/>
              </a:ext>
            </a:extLst>
          </p:cNvPr>
          <p:cNvSpPr>
            <a:spLocks noGrp="1"/>
          </p:cNvSpPr>
          <p:nvPr>
            <p:ph type="sldNum" sz="quarter" idx="10"/>
          </p:nvPr>
        </p:nvSpPr>
        <p:spPr/>
        <p:txBody>
          <a:bodyPr/>
          <a:lstStyle/>
          <a:p>
            <a:fld id="{B8887534-9256-4D4A-AB4E-4EBB84A560FF}" type="slidenum">
              <a:rPr lang="en-GB" smtClean="0"/>
              <a:pPr/>
              <a:t>‹#›</a:t>
            </a:fld>
            <a:endParaRPr lang="en-GB"/>
          </a:p>
        </p:txBody>
      </p:sp>
      <p:sp>
        <p:nvSpPr>
          <p:cNvPr id="14" name="Text Placeholder 13">
            <a:extLst>
              <a:ext uri="{FF2B5EF4-FFF2-40B4-BE49-F238E27FC236}">
                <a16:creationId xmlns:a16="http://schemas.microsoft.com/office/drawing/2014/main" id="{350D35B3-373D-4534-8E31-685D3B681373}"/>
              </a:ext>
            </a:extLst>
          </p:cNvPr>
          <p:cNvSpPr>
            <a:spLocks noGrp="1"/>
          </p:cNvSpPr>
          <p:nvPr>
            <p:ph type="body" sz="quarter" idx="11" hasCustomPrompt="1"/>
          </p:nvPr>
        </p:nvSpPr>
        <p:spPr>
          <a:xfrm>
            <a:off x="2319217" y="6378404"/>
            <a:ext cx="5871307" cy="363537"/>
          </a:xfrm>
        </p:spPr>
        <p:txBody>
          <a:bodyPr/>
          <a:lstStyle>
            <a:lvl1pPr>
              <a:buNone/>
              <a:defRPr sz="1200" i="1"/>
            </a:lvl1pPr>
          </a:lstStyle>
          <a:p>
            <a:pPr lvl="0"/>
            <a:r>
              <a:rPr lang="en-GB"/>
              <a:t>*Note</a:t>
            </a:r>
          </a:p>
        </p:txBody>
      </p:sp>
      <p:sp>
        <p:nvSpPr>
          <p:cNvPr id="15" name="Text Placeholder 13">
            <a:extLst>
              <a:ext uri="{FF2B5EF4-FFF2-40B4-BE49-F238E27FC236}">
                <a16:creationId xmlns:a16="http://schemas.microsoft.com/office/drawing/2014/main" id="{FD3B9CC4-0E3B-4A7F-9DFC-59C66CCA8F9B}"/>
              </a:ext>
            </a:extLst>
          </p:cNvPr>
          <p:cNvSpPr>
            <a:spLocks noGrp="1"/>
          </p:cNvSpPr>
          <p:nvPr>
            <p:ph type="body" sz="quarter" idx="12" hasCustomPrompt="1"/>
          </p:nvPr>
        </p:nvSpPr>
        <p:spPr>
          <a:xfrm>
            <a:off x="2319216" y="1040984"/>
            <a:ext cx="9165445" cy="1121039"/>
          </a:xfrm>
        </p:spPr>
        <p:txBody>
          <a:bodyPr/>
          <a:lstStyle>
            <a:lvl1pPr>
              <a:buNone/>
              <a:defRPr sz="1400" i="1">
                <a:latin typeface="Tahoma" panose="020B0604030504040204" pitchFamily="34" charset="0"/>
                <a:ea typeface="Tahoma" panose="020B0604030504040204" pitchFamily="34" charset="0"/>
                <a:cs typeface="Tahoma" panose="020B0604030504040204" pitchFamily="34" charset="0"/>
              </a:defRPr>
            </a:lvl1pPr>
          </a:lstStyle>
          <a:p>
            <a:pPr lvl="0"/>
            <a:r>
              <a:rPr lang="en-GB"/>
              <a:t>Insert client background – situation</a:t>
            </a:r>
          </a:p>
        </p:txBody>
      </p:sp>
      <p:sp>
        <p:nvSpPr>
          <p:cNvPr id="16" name="Text Placeholder 13">
            <a:extLst>
              <a:ext uri="{FF2B5EF4-FFF2-40B4-BE49-F238E27FC236}">
                <a16:creationId xmlns:a16="http://schemas.microsoft.com/office/drawing/2014/main" id="{C5992AF8-945C-4AB4-A153-569C1AD84323}"/>
              </a:ext>
            </a:extLst>
          </p:cNvPr>
          <p:cNvSpPr>
            <a:spLocks noGrp="1"/>
          </p:cNvSpPr>
          <p:nvPr>
            <p:ph type="body" sz="quarter" idx="13" hasCustomPrompt="1"/>
          </p:nvPr>
        </p:nvSpPr>
        <p:spPr>
          <a:xfrm>
            <a:off x="2319216" y="2388798"/>
            <a:ext cx="9165445" cy="1619754"/>
          </a:xfrm>
        </p:spPr>
        <p:txBody>
          <a:bodyPr/>
          <a:lstStyle>
            <a:lvl1pPr>
              <a:buNone/>
              <a:defRPr sz="1400" i="1">
                <a:latin typeface="Tahoma" panose="020B0604030504040204" pitchFamily="34" charset="0"/>
                <a:ea typeface="Tahoma" panose="020B0604030504040204" pitchFamily="34" charset="0"/>
                <a:cs typeface="Tahoma" panose="020B0604030504040204" pitchFamily="34" charset="0"/>
              </a:defRPr>
            </a:lvl1pPr>
          </a:lstStyle>
          <a:p>
            <a:pPr lvl="0"/>
            <a:r>
              <a:rPr lang="en-GB"/>
              <a:t>Describe the opportunity or challenge facing the client</a:t>
            </a:r>
          </a:p>
          <a:p>
            <a:pPr lvl="0"/>
            <a:r>
              <a:rPr lang="en-GB"/>
              <a:t>What do they want to achieve?</a:t>
            </a:r>
          </a:p>
        </p:txBody>
      </p:sp>
      <p:sp>
        <p:nvSpPr>
          <p:cNvPr id="17" name="Text Placeholder 13">
            <a:extLst>
              <a:ext uri="{FF2B5EF4-FFF2-40B4-BE49-F238E27FC236}">
                <a16:creationId xmlns:a16="http://schemas.microsoft.com/office/drawing/2014/main" id="{D871DC97-E64F-425B-9206-31EDC11EFA1D}"/>
              </a:ext>
            </a:extLst>
          </p:cNvPr>
          <p:cNvSpPr>
            <a:spLocks noGrp="1"/>
          </p:cNvSpPr>
          <p:nvPr>
            <p:ph type="body" sz="quarter" idx="14" hasCustomPrompt="1"/>
          </p:nvPr>
        </p:nvSpPr>
        <p:spPr>
          <a:xfrm>
            <a:off x="2319216" y="4252132"/>
            <a:ext cx="9165445" cy="1900090"/>
          </a:xfrm>
        </p:spPr>
        <p:txBody>
          <a:bodyPr/>
          <a:lstStyle>
            <a:lvl1pPr>
              <a:buNone/>
              <a:defRPr sz="1400" i="1">
                <a:latin typeface="Tahoma" panose="020B0604030504040204" pitchFamily="34" charset="0"/>
                <a:ea typeface="Tahoma" panose="020B0604030504040204" pitchFamily="34" charset="0"/>
                <a:cs typeface="Tahoma" panose="020B0604030504040204" pitchFamily="34" charset="0"/>
              </a:defRPr>
            </a:lvl1pPr>
          </a:lstStyle>
          <a:p>
            <a:pPr lvl="0"/>
            <a:r>
              <a:rPr lang="en-GB"/>
              <a:t>Proposed support + outline of key activities</a:t>
            </a:r>
          </a:p>
          <a:p>
            <a:pPr lvl="0"/>
            <a:r>
              <a:rPr lang="en-GB"/>
              <a:t>Headline cost (ref page XX)</a:t>
            </a:r>
          </a:p>
        </p:txBody>
      </p:sp>
      <p:sp>
        <p:nvSpPr>
          <p:cNvPr id="19" name="Picture Placeholder 18">
            <a:extLst>
              <a:ext uri="{FF2B5EF4-FFF2-40B4-BE49-F238E27FC236}">
                <a16:creationId xmlns:a16="http://schemas.microsoft.com/office/drawing/2014/main" id="{3FBFE626-C623-4026-A249-EFA619E4E4FC}"/>
              </a:ext>
            </a:extLst>
          </p:cNvPr>
          <p:cNvSpPr>
            <a:spLocks noGrp="1"/>
          </p:cNvSpPr>
          <p:nvPr>
            <p:ph type="pic" sz="quarter" idx="15" hasCustomPrompt="1"/>
          </p:nvPr>
        </p:nvSpPr>
        <p:spPr>
          <a:xfrm>
            <a:off x="9287667" y="136525"/>
            <a:ext cx="2549769" cy="649288"/>
          </a:xfrm>
          <a:solidFill>
            <a:schemeClr val="bg2"/>
          </a:solidFill>
        </p:spPr>
        <p:txBody>
          <a:bodyPr/>
          <a:lstStyle>
            <a:lvl1pPr algn="ctr">
              <a:buNone/>
              <a:defRPr/>
            </a:lvl1pPr>
          </a:lstStyle>
          <a:p>
            <a:r>
              <a:rPr lang="en-GB"/>
              <a:t>Client logo</a:t>
            </a:r>
          </a:p>
        </p:txBody>
      </p:sp>
      <p:sp>
        <p:nvSpPr>
          <p:cNvPr id="20" name="Title 6">
            <a:extLst>
              <a:ext uri="{FF2B5EF4-FFF2-40B4-BE49-F238E27FC236}">
                <a16:creationId xmlns:a16="http://schemas.microsoft.com/office/drawing/2014/main" id="{8EF9A7DF-C4BC-460C-BCE7-CA17A98CB4D2}"/>
              </a:ext>
            </a:extLst>
          </p:cNvPr>
          <p:cNvSpPr>
            <a:spLocks noGrp="1"/>
          </p:cNvSpPr>
          <p:nvPr>
            <p:ph type="title" hasCustomPrompt="1"/>
          </p:nvPr>
        </p:nvSpPr>
        <p:spPr>
          <a:xfrm>
            <a:off x="485661" y="365126"/>
            <a:ext cx="10515600" cy="315912"/>
          </a:xfrm>
        </p:spPr>
        <p:txBody>
          <a:bodyPr/>
          <a:lstStyle>
            <a:lvl1pPr>
              <a:defRPr sz="2800"/>
            </a:lvl1pPr>
          </a:lstStyle>
          <a:p>
            <a:r>
              <a:rPr lang="en-US"/>
              <a:t>Context for this proposal</a:t>
            </a:r>
            <a:endParaRPr lang="en-GB"/>
          </a:p>
        </p:txBody>
      </p:sp>
      <p:sp>
        <p:nvSpPr>
          <p:cNvPr id="4" name="Content Placeholder 3">
            <a:extLst>
              <a:ext uri="{FF2B5EF4-FFF2-40B4-BE49-F238E27FC236}">
                <a16:creationId xmlns:a16="http://schemas.microsoft.com/office/drawing/2014/main" id="{B91F250C-DE43-41A5-A645-3839F1E26CAD}"/>
              </a:ext>
            </a:extLst>
          </p:cNvPr>
          <p:cNvSpPr>
            <a:spLocks noGrp="1"/>
          </p:cNvSpPr>
          <p:nvPr>
            <p:ph sz="quarter" idx="16" hasCustomPrompt="1"/>
          </p:nvPr>
        </p:nvSpPr>
        <p:spPr>
          <a:xfrm>
            <a:off x="468092" y="1024349"/>
            <a:ext cx="1739032" cy="1121040"/>
          </a:xfrm>
          <a:prstGeom prst="homePlate">
            <a:avLst>
              <a:gd name="adj" fmla="val 17921"/>
            </a:avLst>
          </a:prstGeom>
          <a:solidFill>
            <a:srgbClr val="002060"/>
          </a:solidFill>
          <a:ln>
            <a:no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lvl1pPr>
              <a:buNone/>
              <a:defRPr lang="en-US" sz="1600" b="1" smtClean="0">
                <a:solidFill>
                  <a:schemeClr val="lt1"/>
                </a:solidFill>
                <a:latin typeface="Tahoma" panose="020B0604030504040204" pitchFamily="34" charset="0"/>
                <a:ea typeface="Tahoma" panose="020B0604030504040204" pitchFamily="34" charset="0"/>
                <a:cs typeface="Tahoma" panose="020B0604030504040204" pitchFamily="34" charset="0"/>
              </a:defRPr>
            </a:lvl1pPr>
            <a:lvl2pPr>
              <a:defRPr lang="en-US" sz="1800" smtClean="0">
                <a:solidFill>
                  <a:schemeClr val="lt1"/>
                </a:solidFill>
                <a:latin typeface="+mn-lt"/>
                <a:ea typeface="+mn-ea"/>
                <a:cs typeface="+mn-cs"/>
              </a:defRPr>
            </a:lvl2pPr>
            <a:lvl3pPr>
              <a:defRPr lang="en-US" sz="1800" smtClean="0">
                <a:solidFill>
                  <a:schemeClr val="lt1"/>
                </a:solidFill>
                <a:latin typeface="+mn-lt"/>
                <a:ea typeface="+mn-ea"/>
                <a:cs typeface="+mn-cs"/>
              </a:defRPr>
            </a:lvl3pPr>
            <a:lvl4pPr>
              <a:defRPr lang="en-US" smtClean="0">
                <a:solidFill>
                  <a:schemeClr val="lt1"/>
                </a:solidFill>
                <a:latin typeface="+mn-lt"/>
                <a:ea typeface="+mn-ea"/>
                <a:cs typeface="+mn-cs"/>
              </a:defRPr>
            </a:lvl4pPr>
            <a:lvl5pPr>
              <a:defRPr lang="en-GB">
                <a:solidFill>
                  <a:schemeClr val="lt1"/>
                </a:solidFill>
                <a:latin typeface="+mn-lt"/>
                <a:ea typeface="+mn-ea"/>
                <a:cs typeface="+mn-cs"/>
              </a:defRPr>
            </a:lvl5pPr>
          </a:lstStyle>
          <a:p>
            <a:pPr marL="0" lvl="0" algn="ctr" defTabSz="1955800">
              <a:lnSpc>
                <a:spcPct val="90000"/>
              </a:lnSpc>
              <a:spcBef>
                <a:spcPct val="0"/>
              </a:spcBef>
              <a:spcAft>
                <a:spcPct val="35000"/>
              </a:spcAft>
            </a:pPr>
            <a:r>
              <a:rPr lang="en-US"/>
              <a:t>Background</a:t>
            </a:r>
            <a:endParaRPr lang="en-GB"/>
          </a:p>
        </p:txBody>
      </p:sp>
      <p:sp>
        <p:nvSpPr>
          <p:cNvPr id="18" name="Content Placeholder 3">
            <a:extLst>
              <a:ext uri="{FF2B5EF4-FFF2-40B4-BE49-F238E27FC236}">
                <a16:creationId xmlns:a16="http://schemas.microsoft.com/office/drawing/2014/main" id="{5BC07AE9-EF33-4644-9F06-ACDFA6CFDF8F}"/>
              </a:ext>
            </a:extLst>
          </p:cNvPr>
          <p:cNvSpPr>
            <a:spLocks noGrp="1"/>
          </p:cNvSpPr>
          <p:nvPr>
            <p:ph sz="quarter" idx="17" hasCustomPrompt="1"/>
          </p:nvPr>
        </p:nvSpPr>
        <p:spPr>
          <a:xfrm>
            <a:off x="468092" y="2387381"/>
            <a:ext cx="1739032" cy="1638572"/>
          </a:xfrm>
          <a:prstGeom prst="homePlate">
            <a:avLst>
              <a:gd name="adj" fmla="val 17921"/>
            </a:avLst>
          </a:prstGeom>
          <a:solidFill>
            <a:srgbClr val="002060"/>
          </a:solidFill>
          <a:ln>
            <a:no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lvl1pPr>
              <a:buNone/>
              <a:defRPr lang="en-US" sz="1600" b="1" smtClean="0">
                <a:solidFill>
                  <a:schemeClr val="lt1"/>
                </a:solidFill>
                <a:latin typeface="Tahoma" panose="020B0604030504040204" pitchFamily="34" charset="0"/>
                <a:ea typeface="Tahoma" panose="020B0604030504040204" pitchFamily="34" charset="0"/>
                <a:cs typeface="Tahoma" panose="020B0604030504040204" pitchFamily="34" charset="0"/>
              </a:defRPr>
            </a:lvl1pPr>
            <a:lvl2pPr>
              <a:defRPr lang="en-US" sz="1800" smtClean="0">
                <a:solidFill>
                  <a:schemeClr val="lt1"/>
                </a:solidFill>
                <a:latin typeface="+mn-lt"/>
                <a:ea typeface="+mn-ea"/>
                <a:cs typeface="+mn-cs"/>
              </a:defRPr>
            </a:lvl2pPr>
            <a:lvl3pPr>
              <a:defRPr lang="en-US" sz="1800" smtClean="0">
                <a:solidFill>
                  <a:schemeClr val="lt1"/>
                </a:solidFill>
                <a:latin typeface="+mn-lt"/>
                <a:ea typeface="+mn-ea"/>
                <a:cs typeface="+mn-cs"/>
              </a:defRPr>
            </a:lvl3pPr>
            <a:lvl4pPr>
              <a:defRPr lang="en-US" smtClean="0">
                <a:solidFill>
                  <a:schemeClr val="lt1"/>
                </a:solidFill>
                <a:latin typeface="+mn-lt"/>
                <a:ea typeface="+mn-ea"/>
                <a:cs typeface="+mn-cs"/>
              </a:defRPr>
            </a:lvl4pPr>
            <a:lvl5pPr>
              <a:defRPr lang="en-GB">
                <a:solidFill>
                  <a:schemeClr val="lt1"/>
                </a:solidFill>
                <a:latin typeface="+mn-lt"/>
                <a:ea typeface="+mn-ea"/>
                <a:cs typeface="+mn-cs"/>
              </a:defRPr>
            </a:lvl5pPr>
          </a:lstStyle>
          <a:p>
            <a:pPr marL="0" lvl="0" algn="ctr" defTabSz="1955800">
              <a:lnSpc>
                <a:spcPct val="90000"/>
              </a:lnSpc>
              <a:spcBef>
                <a:spcPct val="0"/>
              </a:spcBef>
              <a:spcAft>
                <a:spcPct val="35000"/>
              </a:spcAft>
            </a:pPr>
            <a:r>
              <a:rPr lang="en-US"/>
              <a:t>Target Outcomes</a:t>
            </a:r>
            <a:endParaRPr lang="en-GB"/>
          </a:p>
        </p:txBody>
      </p:sp>
      <p:sp>
        <p:nvSpPr>
          <p:cNvPr id="21" name="Content Placeholder 3">
            <a:extLst>
              <a:ext uri="{FF2B5EF4-FFF2-40B4-BE49-F238E27FC236}">
                <a16:creationId xmlns:a16="http://schemas.microsoft.com/office/drawing/2014/main" id="{897D95BE-CDE5-4EE3-8F39-EF476DB07B40}"/>
              </a:ext>
            </a:extLst>
          </p:cNvPr>
          <p:cNvSpPr>
            <a:spLocks noGrp="1"/>
          </p:cNvSpPr>
          <p:nvPr>
            <p:ph sz="quarter" idx="18" hasCustomPrompt="1"/>
          </p:nvPr>
        </p:nvSpPr>
        <p:spPr>
          <a:xfrm>
            <a:off x="468092" y="4267944"/>
            <a:ext cx="1739032" cy="1884277"/>
          </a:xfrm>
          <a:prstGeom prst="homePlate">
            <a:avLst>
              <a:gd name="adj" fmla="val 17921"/>
            </a:avLst>
          </a:prstGeom>
          <a:solidFill>
            <a:srgbClr val="002060"/>
          </a:solidFill>
          <a:ln>
            <a:no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lvl1pPr>
              <a:buNone/>
              <a:defRPr lang="en-US" sz="1600" b="1" smtClean="0">
                <a:solidFill>
                  <a:schemeClr val="lt1"/>
                </a:solidFill>
                <a:latin typeface="Tahoma" panose="020B0604030504040204" pitchFamily="34" charset="0"/>
                <a:ea typeface="Tahoma" panose="020B0604030504040204" pitchFamily="34" charset="0"/>
                <a:cs typeface="Tahoma" panose="020B0604030504040204" pitchFamily="34" charset="0"/>
              </a:defRPr>
            </a:lvl1pPr>
            <a:lvl2pPr>
              <a:defRPr lang="en-US" sz="1800" smtClean="0">
                <a:solidFill>
                  <a:schemeClr val="lt1"/>
                </a:solidFill>
                <a:latin typeface="+mn-lt"/>
                <a:ea typeface="+mn-ea"/>
                <a:cs typeface="+mn-cs"/>
              </a:defRPr>
            </a:lvl2pPr>
            <a:lvl3pPr>
              <a:defRPr lang="en-US" sz="1800" smtClean="0">
                <a:solidFill>
                  <a:schemeClr val="lt1"/>
                </a:solidFill>
                <a:latin typeface="+mn-lt"/>
                <a:ea typeface="+mn-ea"/>
                <a:cs typeface="+mn-cs"/>
              </a:defRPr>
            </a:lvl3pPr>
            <a:lvl4pPr>
              <a:defRPr lang="en-US" smtClean="0">
                <a:solidFill>
                  <a:schemeClr val="lt1"/>
                </a:solidFill>
                <a:latin typeface="+mn-lt"/>
                <a:ea typeface="+mn-ea"/>
                <a:cs typeface="+mn-cs"/>
              </a:defRPr>
            </a:lvl4pPr>
            <a:lvl5pPr>
              <a:defRPr lang="en-GB">
                <a:solidFill>
                  <a:schemeClr val="lt1"/>
                </a:solidFill>
                <a:latin typeface="+mn-lt"/>
                <a:ea typeface="+mn-ea"/>
                <a:cs typeface="+mn-cs"/>
              </a:defRPr>
            </a:lvl5pPr>
          </a:lstStyle>
          <a:p>
            <a:pPr marL="0" lvl="0" algn="ctr" defTabSz="1955800">
              <a:lnSpc>
                <a:spcPct val="90000"/>
              </a:lnSpc>
              <a:spcBef>
                <a:spcPct val="0"/>
              </a:spcBef>
              <a:spcAft>
                <a:spcPct val="35000"/>
              </a:spcAft>
            </a:pPr>
            <a:r>
              <a:rPr lang="en-US"/>
              <a:t>Support Needed</a:t>
            </a:r>
            <a:endParaRPr lang="en-GB"/>
          </a:p>
        </p:txBody>
      </p:sp>
    </p:spTree>
    <p:extLst>
      <p:ext uri="{BB962C8B-B14F-4D97-AF65-F5344CB8AC3E}">
        <p14:creationId xmlns:p14="http://schemas.microsoft.com/office/powerpoint/2010/main" val="9815373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Layout personalizzat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312538902"/>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955" y="1589"/>
                        <a:ext cx="1953" cy="1587"/>
                      </a:xfrm>
                      <a:prstGeom prst="rect">
                        <a:avLst/>
                      </a:prstGeom>
                    </p:spPr>
                  </p:pic>
                </p:oleObj>
              </mc:Fallback>
            </mc:AlternateContent>
          </a:graphicData>
        </a:graphic>
      </p:graphicFrame>
      <p:sp>
        <p:nvSpPr>
          <p:cNvPr id="2" name="Titolo 1"/>
          <p:cNvSpPr>
            <a:spLocks noGrp="1"/>
          </p:cNvSpPr>
          <p:nvPr>
            <p:ph type="title" hasCustomPrompt="1"/>
          </p:nvPr>
        </p:nvSpPr>
        <p:spPr>
          <a:xfrm>
            <a:off x="327878" y="182898"/>
            <a:ext cx="9577761" cy="542925"/>
          </a:xfrm>
          <a:prstGeom prst="rect">
            <a:avLst/>
          </a:prstGeom>
        </p:spPr>
        <p:txBody>
          <a:bodyPr lIns="0" tIns="0" rIns="0" bIns="0" anchor="ctr" anchorCtr="0"/>
          <a:lstStyle>
            <a:lvl1pPr algn="l">
              <a:defRPr sz="2400" b="1" baseline="0">
                <a:effectLst/>
                <a:latin typeface="Helvetica" charset="0"/>
                <a:ea typeface="Helvetica" charset="0"/>
                <a:cs typeface="Helvetica" charset="0"/>
              </a:defRPr>
            </a:lvl1pPr>
          </a:lstStyle>
          <a:p>
            <a:r>
              <a:rPr lang="it-IT"/>
              <a:t>Title </a:t>
            </a:r>
            <a:r>
              <a:rPr lang="it-IT" err="1"/>
              <a:t>here</a:t>
            </a:r>
            <a:endParaRPr lang="it-IT"/>
          </a:p>
        </p:txBody>
      </p:sp>
      <p:sp>
        <p:nvSpPr>
          <p:cNvPr id="7" name="Segnaposto testo 6"/>
          <p:cNvSpPr>
            <a:spLocks noGrp="1"/>
          </p:cNvSpPr>
          <p:nvPr>
            <p:ph type="body" sz="quarter" idx="11" hasCustomPrompt="1"/>
          </p:nvPr>
        </p:nvSpPr>
        <p:spPr>
          <a:xfrm>
            <a:off x="335360" y="1252761"/>
            <a:ext cx="11432655" cy="4892040"/>
          </a:xfrm>
          <a:prstGeom prst="rect">
            <a:avLst/>
          </a:prstGeom>
        </p:spPr>
        <p:txBody>
          <a:bodyPr lIns="36000" tIns="36000" rIns="36000" bIns="36000">
            <a:noAutofit/>
          </a:bodyPr>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it-IT" err="1"/>
              <a:t>Heading</a:t>
            </a:r>
            <a:endParaRPr lang="it-IT"/>
          </a:p>
          <a:p>
            <a:pPr lvl="1"/>
            <a:r>
              <a:rPr lang="it-IT"/>
              <a:t>Second </a:t>
            </a:r>
            <a:r>
              <a:rPr lang="it-IT" err="1"/>
              <a:t>level</a:t>
            </a:r>
            <a:endParaRPr lang="it-IT"/>
          </a:p>
          <a:p>
            <a:pPr lvl="2"/>
            <a:r>
              <a:rPr lang="it-IT"/>
              <a:t>Third </a:t>
            </a:r>
            <a:r>
              <a:rPr lang="it-IT" err="1"/>
              <a:t>level</a:t>
            </a:r>
            <a:endParaRPr lang="it-IT"/>
          </a:p>
          <a:p>
            <a:pPr lvl="3"/>
            <a:r>
              <a:rPr lang="it-IT" err="1"/>
              <a:t>Fourth</a:t>
            </a:r>
            <a:r>
              <a:rPr lang="it-IT"/>
              <a:t> </a:t>
            </a:r>
            <a:r>
              <a:rPr lang="it-IT" err="1"/>
              <a:t>level</a:t>
            </a:r>
            <a:endParaRPr lang="it-IT"/>
          </a:p>
          <a:p>
            <a:pPr lvl="4"/>
            <a:r>
              <a:rPr lang="it-IT" err="1"/>
              <a:t>Fifth</a:t>
            </a:r>
            <a:r>
              <a:rPr lang="it-IT"/>
              <a:t> </a:t>
            </a:r>
            <a:r>
              <a:rPr lang="it-IT" err="1"/>
              <a:t>level</a:t>
            </a:r>
            <a:endParaRPr lang="it-IT"/>
          </a:p>
        </p:txBody>
      </p:sp>
      <p:sp>
        <p:nvSpPr>
          <p:cNvPr id="5" name="Slide Number Placeholder 5">
            <a:extLst>
              <a:ext uri="{FF2B5EF4-FFF2-40B4-BE49-F238E27FC236}">
                <a16:creationId xmlns:a16="http://schemas.microsoft.com/office/drawing/2014/main" id="{2DC6189A-E044-4741-9422-8365F1D8BCFA}"/>
              </a:ext>
            </a:extLst>
          </p:cNvPr>
          <p:cNvSpPr>
            <a:spLocks noGrp="1"/>
          </p:cNvSpPr>
          <p:nvPr>
            <p:ph type="sldNum" sz="quarter" idx="4"/>
          </p:nvPr>
        </p:nvSpPr>
        <p:spPr>
          <a:xfrm>
            <a:off x="9271612"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6D14A1E-9FE1-4CE5-86FF-D10CAE2D11D0}" type="slidenum">
              <a:rPr lang="en-GB" smtClean="0"/>
              <a:t>‹#›</a:t>
            </a:fld>
            <a:endParaRPr lang="en-GB"/>
          </a:p>
        </p:txBody>
      </p:sp>
    </p:spTree>
    <p:extLst>
      <p:ext uri="{BB962C8B-B14F-4D97-AF65-F5344CB8AC3E}">
        <p14:creationId xmlns:p14="http://schemas.microsoft.com/office/powerpoint/2010/main" val="4096621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26AA6E4-D02C-4646-BD48-96881161C5BB}"/>
              </a:ext>
            </a:extLst>
          </p:cNvPr>
          <p:cNvSpPr>
            <a:spLocks noGrp="1"/>
          </p:cNvSpPr>
          <p:nvPr>
            <p:ph type="title"/>
          </p:nvPr>
        </p:nvSpPr>
        <p:spPr>
          <a:xfrm>
            <a:off x="485660" y="365126"/>
            <a:ext cx="10515600" cy="315912"/>
          </a:xfrm>
          <a:prstGeom prst="rect">
            <a:avLst/>
          </a:prstGeom>
        </p:spPr>
        <p:txBody>
          <a:bodyPr vert="horz" lIns="91440" tIns="45720" rIns="91440" bIns="45720" rtlCol="0" anchor="ctr">
            <a:noAutofit/>
          </a:bodyPr>
          <a:lstStyle/>
          <a:p>
            <a:r>
              <a:rPr lang="en-GB"/>
              <a:t>Click to edit Master title style</a:t>
            </a:r>
          </a:p>
        </p:txBody>
      </p:sp>
      <p:sp>
        <p:nvSpPr>
          <p:cNvPr id="3" name="Text Placeholder 2">
            <a:extLst>
              <a:ext uri="{FF2B5EF4-FFF2-40B4-BE49-F238E27FC236}">
                <a16:creationId xmlns:a16="http://schemas.microsoft.com/office/drawing/2014/main" id="{0F7A622D-7017-4C2A-AD30-19D8A5C1BBA8}"/>
              </a:ext>
            </a:extLst>
          </p:cNvPr>
          <p:cNvSpPr>
            <a:spLocks noGrp="1"/>
          </p:cNvSpPr>
          <p:nvPr>
            <p:ph type="body" idx="1"/>
          </p:nvPr>
        </p:nvSpPr>
        <p:spPr>
          <a:xfrm>
            <a:off x="485660" y="1139639"/>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5">
            <a:extLst>
              <a:ext uri="{FF2B5EF4-FFF2-40B4-BE49-F238E27FC236}">
                <a16:creationId xmlns:a16="http://schemas.microsoft.com/office/drawing/2014/main" id="{AC7A5352-B805-4D0C-AE42-CC66FA63E58B}"/>
              </a:ext>
            </a:extLst>
          </p:cNvPr>
          <p:cNvSpPr>
            <a:spLocks noGrp="1"/>
          </p:cNvSpPr>
          <p:nvPr>
            <p:ph type="sldNum" sz="quarter" idx="4"/>
          </p:nvPr>
        </p:nvSpPr>
        <p:spPr>
          <a:xfrm>
            <a:off x="9238562" y="6356350"/>
            <a:ext cx="2743200" cy="365125"/>
          </a:xfrm>
          <a:prstGeom prst="rect">
            <a:avLst/>
          </a:prstGeom>
        </p:spPr>
        <p:txBody>
          <a:bodyPr vert="horz" lIns="91440" tIns="45720" rIns="91440" bIns="45720" rtlCol="0" anchor="ctr"/>
          <a:lstStyle>
            <a:lvl1pPr algn="r">
              <a:defRPr sz="1200">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fld id="{96D14A1E-9FE1-4CE5-86FF-D10CAE2D11D0}" type="slidenum">
              <a:rPr lang="en-GB" smtClean="0"/>
              <a:t>‹#›</a:t>
            </a:fld>
            <a:endParaRPr lang="en-GB"/>
          </a:p>
        </p:txBody>
      </p:sp>
      <p:cxnSp>
        <p:nvCxnSpPr>
          <p:cNvPr id="7" name="Straight Connector 6">
            <a:extLst>
              <a:ext uri="{FF2B5EF4-FFF2-40B4-BE49-F238E27FC236}">
                <a16:creationId xmlns:a16="http://schemas.microsoft.com/office/drawing/2014/main" id="{67E6F32F-AD44-4477-A94F-D3B1214C22BA}"/>
              </a:ext>
            </a:extLst>
          </p:cNvPr>
          <p:cNvCxnSpPr>
            <a:cxnSpLocks/>
          </p:cNvCxnSpPr>
          <p:nvPr/>
        </p:nvCxnSpPr>
        <p:spPr>
          <a:xfrm>
            <a:off x="480059" y="910338"/>
            <a:ext cx="11236248" cy="0"/>
          </a:xfrm>
          <a:prstGeom prst="line">
            <a:avLst/>
          </a:prstGeom>
          <a:ln w="38100">
            <a:gradFill flip="none" rotWithShape="1">
              <a:gsLst>
                <a:gs pos="0">
                  <a:srgbClr val="EBB95F"/>
                </a:gs>
                <a:gs pos="100000">
                  <a:schemeClr val="tx2">
                    <a:lumMod val="20000"/>
                    <a:lumOff val="80000"/>
                  </a:schemeClr>
                </a:gs>
              </a:gsLst>
              <a:lin ang="0" scaled="1"/>
              <a:tileRect/>
            </a:gra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833891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6" r:id="rId5"/>
    <p:sldLayoutId id="2147483667" r:id="rId6"/>
    <p:sldLayoutId id="2147483671" r:id="rId7"/>
    <p:sldLayoutId id="2147483672" r:id="rId8"/>
    <p:sldLayoutId id="2147483674" r:id="rId9"/>
    <p:sldLayoutId id="2147483675" r:id="rId10"/>
    <p:sldLayoutId id="2147483676" r:id="rId11"/>
    <p:sldLayoutId id="2147483677" r:id="rId12"/>
    <p:sldLayoutId id="2147483678" r:id="rId13"/>
  </p:sldLayoutIdLst>
  <p:txStyles>
    <p:titleStyle>
      <a:lvl1pPr algn="l" defTabSz="914400" rtl="0" eaLnBrk="1" latinLnBrk="0" hangingPunct="1">
        <a:lnSpc>
          <a:spcPct val="90000"/>
        </a:lnSpc>
        <a:spcBef>
          <a:spcPct val="0"/>
        </a:spcBef>
        <a:buNone/>
        <a:defRPr sz="2800" b="1" kern="1200">
          <a:solidFill>
            <a:schemeClr val="tx1"/>
          </a:solidFill>
          <a:latin typeface="Segoe UI" panose="020B0502040204020203" pitchFamily="34" charset="0"/>
          <a:ea typeface="+mj-ea"/>
          <a:cs typeface="Segoe UI" panose="020B0502040204020203" pitchFamily="34" charset="0"/>
        </a:defRPr>
      </a:lvl1pPr>
    </p:titleStyle>
    <p:bodyStyle>
      <a:lvl1pPr marL="363538" indent="-363538" algn="l" defTabSz="914400" rtl="0" eaLnBrk="1" latinLnBrk="0" hangingPunct="1">
        <a:lnSpc>
          <a:spcPct val="100000"/>
        </a:lnSpc>
        <a:spcBef>
          <a:spcPts val="600"/>
        </a:spcBef>
        <a:buFont typeface="Arial" panose="020B0604020202020204" pitchFamily="34" charset="0"/>
        <a:buChar char="•"/>
        <a:defRPr sz="28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981075" indent="-347663" algn="l" defTabSz="914400" rtl="0" eaLnBrk="1" latinLnBrk="0" hangingPunct="1">
        <a:lnSpc>
          <a:spcPct val="100000"/>
        </a:lnSpc>
        <a:spcBef>
          <a:spcPts val="600"/>
        </a:spcBef>
        <a:buFont typeface="Wingdings" panose="05000000000000000000" pitchFamily="2" charset="2"/>
        <a:buChar char="Ø"/>
        <a:defRPr sz="2400" kern="12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1344613" indent="-228600" algn="l" defTabSz="914400" rtl="0" eaLnBrk="1" latinLnBrk="0" hangingPunct="1">
        <a:lnSpc>
          <a:spcPct val="100000"/>
        </a:lnSpc>
        <a:spcBef>
          <a:spcPts val="600"/>
        </a:spcBef>
        <a:buFont typeface="Courier New" panose="02070309020205020404" pitchFamily="49" charset="0"/>
        <a:buChar char="o"/>
        <a:defRPr sz="2000" kern="120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1795463" indent="-228600" algn="l" defTabSz="914400" rtl="0" eaLnBrk="1" latinLnBrk="0" hangingPunct="1">
        <a:lnSpc>
          <a:spcPct val="100000"/>
        </a:lnSpc>
        <a:spcBef>
          <a:spcPts val="600"/>
        </a:spcBef>
        <a:buFont typeface="Tahoma" panose="020B0604030504040204" pitchFamily="34" charset="0"/>
        <a:buChar char="–"/>
        <a:defRPr sz="1800" kern="1200">
          <a:solidFill>
            <a:schemeClr val="tx1"/>
          </a:solidFill>
          <a:latin typeface="Tahoma" panose="020B0604030504040204" pitchFamily="34" charset="0"/>
          <a:ea typeface="Tahoma" panose="020B0604030504040204" pitchFamily="34" charset="0"/>
          <a:cs typeface="Tahoma" panose="020B0604030504040204" pitchFamily="34" charset="0"/>
        </a:defRPr>
      </a:lvl4pPr>
      <a:lvl5pPr marL="2236788" indent="-228600" algn="l" defTabSz="914400" rtl="0" eaLnBrk="1" latinLnBrk="0" hangingPunct="1">
        <a:lnSpc>
          <a:spcPct val="100000"/>
        </a:lnSpc>
        <a:spcBef>
          <a:spcPts val="600"/>
        </a:spcBef>
        <a:buFont typeface="Tahoma" panose="020B0604030504040204" pitchFamily="34" charset="0"/>
        <a:buChar char="–"/>
        <a:defRPr sz="1800" kern="1200">
          <a:solidFill>
            <a:schemeClr val="tx1"/>
          </a:solidFill>
          <a:latin typeface="Tahoma" panose="020B0604030504040204" pitchFamily="34" charset="0"/>
          <a:ea typeface="Tahoma" panose="020B0604030504040204" pitchFamily="34" charset="0"/>
          <a:cs typeface="Tahom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7.jpeg"/><Relationship Id="rId2" Type="http://schemas.openxmlformats.org/officeDocument/2006/relationships/image" Target="../media/image12.png"/><Relationship Id="rId1" Type="http://schemas.openxmlformats.org/officeDocument/2006/relationships/slideLayout" Target="../slideLayouts/slideLayout4.xml"/><Relationship Id="rId6" Type="http://schemas.openxmlformats.org/officeDocument/2006/relationships/image" Target="../media/image15.png"/><Relationship Id="rId5" Type="http://schemas.openxmlformats.org/officeDocument/2006/relationships/image" Target="../media/image14.png"/><Relationship Id="rId4" Type="http://schemas.microsoft.com/office/2007/relationships/hdphoto" Target="../media/hdphoto1.wdp"/></Relationships>
</file>

<file path=ppt/slides/_rels/slide14.xml.rels><?xml version="1.0" encoding="UTF-8" standalone="yes"?>
<Relationships xmlns="http://schemas.openxmlformats.org/package/2006/relationships"><Relationship Id="rId2" Type="http://schemas.openxmlformats.org/officeDocument/2006/relationships/hyperlink" Target="https://app.klaxoon.com/join/YPGNWYT" TargetMode="Externa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5.xml"/><Relationship Id="rId5" Type="http://schemas.openxmlformats.org/officeDocument/2006/relationships/image" Target="../media/image4.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2.png"/><Relationship Id="rId1" Type="http://schemas.openxmlformats.org/officeDocument/2006/relationships/slideLayout" Target="../slideLayouts/slideLayout4.xml"/><Relationship Id="rId4" Type="http://schemas.openxmlformats.org/officeDocument/2006/relationships/image" Target="../media/image15.png"/></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hyperlink" Target="https://app.klaxoon.com/join/YPGNWYT" TargetMode="Externa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18570A-9AF8-5A36-BE65-4258EAECDCAE}"/>
              </a:ext>
            </a:extLst>
          </p:cNvPr>
          <p:cNvSpPr>
            <a:spLocks noGrp="1"/>
          </p:cNvSpPr>
          <p:nvPr>
            <p:ph type="title"/>
          </p:nvPr>
        </p:nvSpPr>
        <p:spPr>
          <a:xfrm>
            <a:off x="480060" y="396102"/>
            <a:ext cx="9702190" cy="387798"/>
          </a:xfrm>
        </p:spPr>
        <p:txBody>
          <a:bodyPr/>
          <a:lstStyle/>
          <a:p>
            <a:r>
              <a:rPr lang="en-GB" sz="2800" dirty="0"/>
              <a:t>eBook: Consulting Skill Development</a:t>
            </a:r>
          </a:p>
        </p:txBody>
      </p:sp>
      <p:sp>
        <p:nvSpPr>
          <p:cNvPr id="8" name="Rectangle 7">
            <a:extLst>
              <a:ext uri="{FF2B5EF4-FFF2-40B4-BE49-F238E27FC236}">
                <a16:creationId xmlns:a16="http://schemas.microsoft.com/office/drawing/2014/main" id="{FF949CDF-EB5A-0986-8335-3112C85C515B}"/>
              </a:ext>
            </a:extLst>
          </p:cNvPr>
          <p:cNvSpPr/>
          <p:nvPr/>
        </p:nvSpPr>
        <p:spPr>
          <a:xfrm>
            <a:off x="415626" y="1606696"/>
            <a:ext cx="6966367" cy="13429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457200" indent="-457200">
              <a:spcBef>
                <a:spcPts val="3000"/>
              </a:spcBef>
              <a:buAutoNum type="arabicPeriod"/>
            </a:pPr>
            <a:r>
              <a:rPr lang="en-US" sz="2400" dirty="0">
                <a:solidFill>
                  <a:schemeClr val="tx1"/>
                </a:solidFill>
                <a:latin typeface="Tahoma" panose="020B0604030504040204" pitchFamily="34" charset="0"/>
                <a:ea typeface="Tahoma" panose="020B0604030504040204" pitchFamily="34" charset="0"/>
                <a:cs typeface="Tahoma" panose="020B0604030504040204" pitchFamily="34" charset="0"/>
              </a:rPr>
              <a:t>Background &amp; Target outcomes</a:t>
            </a:r>
          </a:p>
          <a:p>
            <a:pPr marL="457200" indent="-457200">
              <a:spcBef>
                <a:spcPts val="3000"/>
              </a:spcBef>
              <a:buAutoNum type="arabicPeriod"/>
            </a:pPr>
            <a:r>
              <a:rPr lang="en-US" sz="2400" dirty="0">
                <a:solidFill>
                  <a:schemeClr val="tx1"/>
                </a:solidFill>
                <a:latin typeface="Tahoma" panose="020B0604030504040204" pitchFamily="34" charset="0"/>
                <a:ea typeface="Tahoma" panose="020B0604030504040204" pitchFamily="34" charset="0"/>
                <a:cs typeface="Tahoma" panose="020B0604030504040204" pitchFamily="34" charset="0"/>
              </a:rPr>
              <a:t>Training Curriculum Decisions</a:t>
            </a:r>
          </a:p>
          <a:p>
            <a:pPr marL="457200" indent="-457200">
              <a:spcBef>
                <a:spcPts val="3000"/>
              </a:spcBef>
              <a:buAutoNum type="arabicPeriod"/>
            </a:pPr>
            <a:r>
              <a:rPr lang="en-US" sz="2400" dirty="0">
                <a:solidFill>
                  <a:schemeClr val="tx1"/>
                </a:solidFill>
                <a:latin typeface="Tahoma" panose="020B0604030504040204" pitchFamily="34" charset="0"/>
                <a:ea typeface="Tahoma" panose="020B0604030504040204" pitchFamily="34" charset="0"/>
                <a:cs typeface="Tahoma" panose="020B0604030504040204" pitchFamily="34" charset="0"/>
              </a:rPr>
              <a:t>Project Proposal, Team &amp; Fees</a:t>
            </a:r>
          </a:p>
          <a:p>
            <a:pPr marL="457200" indent="-457200">
              <a:spcBef>
                <a:spcPts val="3000"/>
              </a:spcBef>
              <a:buAutoNum type="arabicPeriod"/>
            </a:pPr>
            <a:r>
              <a:rPr lang="en-US" sz="2400" dirty="0">
                <a:solidFill>
                  <a:schemeClr val="tx1"/>
                </a:solidFill>
                <a:latin typeface="Tahoma" panose="020B0604030504040204" pitchFamily="34" charset="0"/>
                <a:ea typeface="Tahoma" panose="020B0604030504040204" pitchFamily="34" charset="0"/>
                <a:cs typeface="Tahoma" panose="020B0604030504040204" pitchFamily="34" charset="0"/>
              </a:rPr>
              <a:t>Detail on our Approach &amp; Options</a:t>
            </a:r>
          </a:p>
          <a:p>
            <a:pPr marL="457200" indent="-457200">
              <a:spcBef>
                <a:spcPts val="3000"/>
              </a:spcBef>
              <a:buAutoNum type="arabicPeriod"/>
            </a:pPr>
            <a:endParaRPr lang="en-US" sz="240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11" name="Rectangle 10">
            <a:extLst>
              <a:ext uri="{FF2B5EF4-FFF2-40B4-BE49-F238E27FC236}">
                <a16:creationId xmlns:a16="http://schemas.microsoft.com/office/drawing/2014/main" id="{9CF076D7-B82B-04B1-31A4-0739D7D54918}"/>
              </a:ext>
            </a:extLst>
          </p:cNvPr>
          <p:cNvSpPr/>
          <p:nvPr/>
        </p:nvSpPr>
        <p:spPr>
          <a:xfrm>
            <a:off x="7711633" y="1606696"/>
            <a:ext cx="2573272" cy="13429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spcBef>
                <a:spcPts val="3000"/>
              </a:spcBef>
            </a:pPr>
            <a:r>
              <a:rPr lang="en-US" sz="2400" dirty="0">
                <a:solidFill>
                  <a:schemeClr val="tx1"/>
                </a:solidFill>
                <a:latin typeface="Tahoma" panose="020B0604030504040204" pitchFamily="34" charset="0"/>
                <a:ea typeface="Tahoma" panose="020B0604030504040204" pitchFamily="34" charset="0"/>
                <a:cs typeface="Tahoma" panose="020B0604030504040204" pitchFamily="34" charset="0"/>
              </a:rPr>
              <a:t>pages 3 – 5</a:t>
            </a:r>
          </a:p>
          <a:p>
            <a:pPr>
              <a:spcBef>
                <a:spcPts val="3000"/>
              </a:spcBef>
            </a:pPr>
            <a:r>
              <a:rPr lang="en-US" sz="2400" dirty="0">
                <a:solidFill>
                  <a:schemeClr val="tx1"/>
                </a:solidFill>
                <a:latin typeface="Tahoma" panose="020B0604030504040204" pitchFamily="34" charset="0"/>
                <a:ea typeface="Tahoma" panose="020B0604030504040204" pitchFamily="34" charset="0"/>
                <a:cs typeface="Tahoma" panose="020B0604030504040204" pitchFamily="34" charset="0"/>
              </a:rPr>
              <a:t>pages 6 – 8</a:t>
            </a:r>
          </a:p>
          <a:p>
            <a:pPr>
              <a:spcBef>
                <a:spcPts val="3000"/>
              </a:spcBef>
            </a:pPr>
            <a:r>
              <a:rPr lang="en-US" sz="2400" dirty="0">
                <a:solidFill>
                  <a:schemeClr val="tx1"/>
                </a:solidFill>
                <a:latin typeface="Tahoma" panose="020B0604030504040204" pitchFamily="34" charset="0"/>
                <a:ea typeface="Tahoma" panose="020B0604030504040204" pitchFamily="34" charset="0"/>
                <a:cs typeface="Tahoma" panose="020B0604030504040204" pitchFamily="34" charset="0"/>
              </a:rPr>
              <a:t>pages 9 – 14</a:t>
            </a:r>
          </a:p>
          <a:p>
            <a:pPr>
              <a:spcBef>
                <a:spcPts val="3000"/>
              </a:spcBef>
            </a:pPr>
            <a:r>
              <a:rPr lang="en-US" sz="2400" dirty="0">
                <a:solidFill>
                  <a:schemeClr val="tx1"/>
                </a:solidFill>
                <a:latin typeface="Tahoma" panose="020B0604030504040204" pitchFamily="34" charset="0"/>
                <a:ea typeface="Tahoma" panose="020B0604030504040204" pitchFamily="34" charset="0"/>
                <a:cs typeface="Tahoma" panose="020B0604030504040204" pitchFamily="34" charset="0"/>
              </a:rPr>
              <a:t>pages 16 – 24</a:t>
            </a:r>
          </a:p>
        </p:txBody>
      </p:sp>
    </p:spTree>
    <p:extLst>
      <p:ext uri="{BB962C8B-B14F-4D97-AF65-F5344CB8AC3E}">
        <p14:creationId xmlns:p14="http://schemas.microsoft.com/office/powerpoint/2010/main" val="14073174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007A69F-3C1E-A200-95BE-D6C294B7F7EB}"/>
              </a:ext>
            </a:extLst>
          </p:cNvPr>
          <p:cNvPicPr>
            <a:picLocks noChangeAspect="1"/>
          </p:cNvPicPr>
          <p:nvPr/>
        </p:nvPicPr>
        <p:blipFill>
          <a:blip r:embed="rId2"/>
          <a:stretch>
            <a:fillRect/>
          </a:stretch>
        </p:blipFill>
        <p:spPr>
          <a:xfrm>
            <a:off x="1081549" y="1104171"/>
            <a:ext cx="10248082" cy="567383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2" name="TextBox 1">
            <a:extLst>
              <a:ext uri="{FF2B5EF4-FFF2-40B4-BE49-F238E27FC236}">
                <a16:creationId xmlns:a16="http://schemas.microsoft.com/office/drawing/2014/main" id="{6F28F517-6A58-6A7D-CC4C-489E18B99E3B}"/>
              </a:ext>
            </a:extLst>
          </p:cNvPr>
          <p:cNvSpPr txBox="1"/>
          <p:nvPr/>
        </p:nvSpPr>
        <p:spPr>
          <a:xfrm>
            <a:off x="1081549" y="79992"/>
            <a:ext cx="8209936" cy="707886"/>
          </a:xfrm>
          <a:prstGeom prst="rect">
            <a:avLst/>
          </a:prstGeom>
          <a:noFill/>
        </p:spPr>
        <p:txBody>
          <a:bodyPr wrap="square" rtlCol="0">
            <a:spAutoFit/>
          </a:bodyPr>
          <a:lstStyle/>
          <a:p>
            <a:r>
              <a:rPr lang="en-GB" sz="4000" dirty="0"/>
              <a:t>Optimise Skill Development</a:t>
            </a:r>
          </a:p>
        </p:txBody>
      </p:sp>
    </p:spTree>
    <p:extLst>
      <p:ext uri="{BB962C8B-B14F-4D97-AF65-F5344CB8AC3E}">
        <p14:creationId xmlns:p14="http://schemas.microsoft.com/office/powerpoint/2010/main" val="2179165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E066311-A3EE-63E1-217B-B6860F3B6BE4}"/>
              </a:ext>
            </a:extLst>
          </p:cNvPr>
          <p:cNvPicPr>
            <a:picLocks noChangeAspect="1"/>
          </p:cNvPicPr>
          <p:nvPr/>
        </p:nvPicPr>
        <p:blipFill>
          <a:blip r:embed="rId2"/>
          <a:stretch>
            <a:fillRect/>
          </a:stretch>
        </p:blipFill>
        <p:spPr>
          <a:xfrm>
            <a:off x="1118008" y="1250216"/>
            <a:ext cx="9490999" cy="525467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2" name="TextBox 1">
            <a:extLst>
              <a:ext uri="{FF2B5EF4-FFF2-40B4-BE49-F238E27FC236}">
                <a16:creationId xmlns:a16="http://schemas.microsoft.com/office/drawing/2014/main" id="{BF99C115-80CD-3F25-2D14-BA1731984647}"/>
              </a:ext>
            </a:extLst>
          </p:cNvPr>
          <p:cNvSpPr txBox="1"/>
          <p:nvPr/>
        </p:nvSpPr>
        <p:spPr>
          <a:xfrm>
            <a:off x="1081549" y="79992"/>
            <a:ext cx="10402528" cy="707886"/>
          </a:xfrm>
          <a:prstGeom prst="rect">
            <a:avLst/>
          </a:prstGeom>
          <a:noFill/>
        </p:spPr>
        <p:txBody>
          <a:bodyPr wrap="square" rtlCol="0">
            <a:spAutoFit/>
          </a:bodyPr>
          <a:lstStyle/>
          <a:p>
            <a:r>
              <a:rPr lang="en-GB" sz="4000" dirty="0"/>
              <a:t>Skills needs should input into resourcing</a:t>
            </a:r>
          </a:p>
        </p:txBody>
      </p:sp>
    </p:spTree>
    <p:extLst>
      <p:ext uri="{BB962C8B-B14F-4D97-AF65-F5344CB8AC3E}">
        <p14:creationId xmlns:p14="http://schemas.microsoft.com/office/powerpoint/2010/main" val="32455494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744986C-B4D5-044B-5F9B-B43BF42C5B4E}"/>
              </a:ext>
            </a:extLst>
          </p:cNvPr>
          <p:cNvPicPr>
            <a:picLocks noChangeAspect="1"/>
          </p:cNvPicPr>
          <p:nvPr/>
        </p:nvPicPr>
        <p:blipFill>
          <a:blip r:embed="rId2"/>
          <a:stretch>
            <a:fillRect/>
          </a:stretch>
        </p:blipFill>
        <p:spPr>
          <a:xfrm>
            <a:off x="1406014" y="1181451"/>
            <a:ext cx="9884288" cy="547242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2" name="TextBox 1">
            <a:extLst>
              <a:ext uri="{FF2B5EF4-FFF2-40B4-BE49-F238E27FC236}">
                <a16:creationId xmlns:a16="http://schemas.microsoft.com/office/drawing/2014/main" id="{8B567A2D-AAC4-B668-E847-5F10C313F0CB}"/>
              </a:ext>
            </a:extLst>
          </p:cNvPr>
          <p:cNvSpPr txBox="1"/>
          <p:nvPr/>
        </p:nvSpPr>
        <p:spPr>
          <a:xfrm>
            <a:off x="1081549" y="79992"/>
            <a:ext cx="10402528" cy="707886"/>
          </a:xfrm>
          <a:prstGeom prst="rect">
            <a:avLst/>
          </a:prstGeom>
          <a:noFill/>
        </p:spPr>
        <p:txBody>
          <a:bodyPr wrap="square" rtlCol="0">
            <a:spAutoFit/>
          </a:bodyPr>
          <a:lstStyle/>
          <a:p>
            <a:r>
              <a:rPr lang="en-GB" sz="4000" dirty="0"/>
              <a:t>How to build Performance</a:t>
            </a:r>
          </a:p>
        </p:txBody>
      </p:sp>
    </p:spTree>
    <p:extLst>
      <p:ext uri="{BB962C8B-B14F-4D97-AF65-F5344CB8AC3E}">
        <p14:creationId xmlns:p14="http://schemas.microsoft.com/office/powerpoint/2010/main" val="10199810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a:extLst>
              <a:ext uri="{FF2B5EF4-FFF2-40B4-BE49-F238E27FC236}">
                <a16:creationId xmlns:a16="http://schemas.microsoft.com/office/drawing/2014/main" id="{83FFDF73-0C03-4DC3-934D-EA22519E109E}"/>
              </a:ext>
            </a:extLst>
          </p:cNvPr>
          <p:cNvSpPr txBox="1">
            <a:spLocks/>
          </p:cNvSpPr>
          <p:nvPr/>
        </p:nvSpPr>
        <p:spPr>
          <a:xfrm>
            <a:off x="485661" y="271820"/>
            <a:ext cx="11196266" cy="315912"/>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Segoe UI" panose="020B0502040204020203" pitchFamily="34" charset="0"/>
                <a:ea typeface="+mj-ea"/>
                <a:cs typeface="Segoe UI" panose="020B0502040204020203" pitchFamily="34" charset="0"/>
              </a:defRPr>
            </a:lvl1pPr>
          </a:lstStyle>
          <a:p>
            <a:r>
              <a:rPr lang="en-GB" dirty="0"/>
              <a:t>Build Learning Impact Analytics</a:t>
            </a:r>
          </a:p>
        </p:txBody>
      </p:sp>
      <p:sp>
        <p:nvSpPr>
          <p:cNvPr id="21" name="Rectangle 20">
            <a:extLst>
              <a:ext uri="{FF2B5EF4-FFF2-40B4-BE49-F238E27FC236}">
                <a16:creationId xmlns:a16="http://schemas.microsoft.com/office/drawing/2014/main" id="{F5C30D64-7DB2-4601-A820-C627CFAD866F}"/>
              </a:ext>
            </a:extLst>
          </p:cNvPr>
          <p:cNvSpPr/>
          <p:nvPr/>
        </p:nvSpPr>
        <p:spPr>
          <a:xfrm>
            <a:off x="2179409" y="1225340"/>
            <a:ext cx="1931679" cy="626693"/>
          </a:xfrm>
          <a:prstGeom prst="rect">
            <a:avLst/>
          </a:prstGeom>
          <a:solidFill>
            <a:schemeClr val="accent5"/>
          </a:solidFill>
          <a:ln w="12700" cap="sq" cmpd="sng" algn="ctr">
            <a:noFill/>
            <a:prstDash val="solid"/>
          </a:ln>
          <a:effectLst/>
        </p:spPr>
        <p:txBody>
          <a:bodyPr rtlCol="0" anchor="ctr"/>
          <a:lstStyle/>
          <a:p>
            <a:pPr algn="ctr" defTabSz="1219170">
              <a:defRPr/>
            </a:pPr>
            <a:r>
              <a:rPr lang="en-GB" sz="1400" b="1" kern="0" dirty="0">
                <a:latin typeface="Tahoma" panose="020B0604030504040204" pitchFamily="34" charset="0"/>
                <a:ea typeface="Tahoma" panose="020B0604030504040204" pitchFamily="34" charset="0"/>
                <a:cs typeface="Tahoma" panose="020B0604030504040204" pitchFamily="34" charset="0"/>
              </a:rPr>
              <a:t>Individual</a:t>
            </a:r>
          </a:p>
          <a:p>
            <a:pPr algn="ctr" defTabSz="1219170">
              <a:defRPr/>
            </a:pPr>
            <a:r>
              <a:rPr lang="en-GB" sz="1400" kern="0" dirty="0">
                <a:latin typeface="Tahoma" panose="020B0604030504040204" pitchFamily="34" charset="0"/>
                <a:ea typeface="Tahoma" panose="020B0604030504040204" pitchFamily="34" charset="0"/>
                <a:cs typeface="Tahoma" panose="020B0604030504040204" pitchFamily="34" charset="0"/>
              </a:rPr>
              <a:t>Accelerate Skills</a:t>
            </a:r>
          </a:p>
        </p:txBody>
      </p:sp>
      <p:sp>
        <p:nvSpPr>
          <p:cNvPr id="22" name="Rectangle 21">
            <a:extLst>
              <a:ext uri="{FF2B5EF4-FFF2-40B4-BE49-F238E27FC236}">
                <a16:creationId xmlns:a16="http://schemas.microsoft.com/office/drawing/2014/main" id="{E2377F65-9366-4688-AE5A-707DECB056B1}"/>
              </a:ext>
            </a:extLst>
          </p:cNvPr>
          <p:cNvSpPr/>
          <p:nvPr/>
        </p:nvSpPr>
        <p:spPr>
          <a:xfrm>
            <a:off x="6307888" y="1225340"/>
            <a:ext cx="1931043" cy="626693"/>
          </a:xfrm>
          <a:prstGeom prst="rect">
            <a:avLst/>
          </a:prstGeom>
          <a:solidFill>
            <a:schemeClr val="tx1"/>
          </a:solidFill>
          <a:ln w="12700" cap="sq" cmpd="sng" algn="ctr">
            <a:noFill/>
            <a:prstDash val="solid"/>
          </a:ln>
          <a:effectLst/>
        </p:spPr>
        <p:txBody>
          <a:bodyPr rtlCol="0" anchor="ctr"/>
          <a:lstStyle/>
          <a:p>
            <a:pPr algn="ctr" defTabSz="1219170">
              <a:defRPr/>
            </a:pPr>
            <a:r>
              <a:rPr lang="en-GB" sz="1400" b="1" kern="0" dirty="0">
                <a:solidFill>
                  <a:srgbClr val="FFFFFF"/>
                </a:solidFill>
                <a:latin typeface="Tahoma" panose="020B0604030504040204" pitchFamily="34" charset="0"/>
                <a:ea typeface="Tahoma" panose="020B0604030504040204" pitchFamily="34" charset="0"/>
                <a:cs typeface="Tahoma" panose="020B0604030504040204" pitchFamily="34" charset="0"/>
              </a:rPr>
              <a:t>Firm</a:t>
            </a:r>
            <a:br>
              <a:rPr lang="en-GB" sz="1400" b="1" kern="0" dirty="0">
                <a:solidFill>
                  <a:srgbClr val="FFFFFF"/>
                </a:solidFill>
                <a:latin typeface="Tahoma" panose="020B0604030504040204" pitchFamily="34" charset="0"/>
                <a:ea typeface="Tahoma" panose="020B0604030504040204" pitchFamily="34" charset="0"/>
                <a:cs typeface="Tahoma" panose="020B0604030504040204" pitchFamily="34" charset="0"/>
              </a:rPr>
            </a:br>
            <a:r>
              <a:rPr lang="en-GB" sz="1400" kern="0" dirty="0">
                <a:solidFill>
                  <a:srgbClr val="FFFFFF"/>
                </a:solidFill>
                <a:latin typeface="Tahoma" panose="020B0604030504040204" pitchFamily="34" charset="0"/>
                <a:ea typeface="Tahoma" panose="020B0604030504040204" pitchFamily="34" charset="0"/>
                <a:cs typeface="Tahoma" panose="020B0604030504040204" pitchFamily="34" charset="0"/>
              </a:rPr>
              <a:t>Shifting behaviours</a:t>
            </a:r>
          </a:p>
        </p:txBody>
      </p:sp>
      <p:sp>
        <p:nvSpPr>
          <p:cNvPr id="23" name="Rectangle 22">
            <a:extLst>
              <a:ext uri="{FF2B5EF4-FFF2-40B4-BE49-F238E27FC236}">
                <a16:creationId xmlns:a16="http://schemas.microsoft.com/office/drawing/2014/main" id="{41E3E48B-AAFE-4CA8-AFD0-46786C25652A}"/>
              </a:ext>
            </a:extLst>
          </p:cNvPr>
          <p:cNvSpPr/>
          <p:nvPr/>
        </p:nvSpPr>
        <p:spPr>
          <a:xfrm>
            <a:off x="4212041" y="1225339"/>
            <a:ext cx="1994893" cy="626695"/>
          </a:xfrm>
          <a:prstGeom prst="rect">
            <a:avLst/>
          </a:prstGeom>
          <a:solidFill>
            <a:schemeClr val="accent4"/>
          </a:solidFill>
          <a:ln w="12700" cap="sq" cmpd="sng" algn="ctr">
            <a:noFill/>
            <a:prstDash val="solid"/>
          </a:ln>
          <a:effectLst/>
        </p:spPr>
        <p:txBody>
          <a:bodyPr rtlCol="0" anchor="ctr"/>
          <a:lstStyle/>
          <a:p>
            <a:pPr algn="ctr" defTabSz="1219170">
              <a:defRPr/>
            </a:pPr>
            <a:r>
              <a:rPr lang="en-GB" sz="1400" b="1" kern="0">
                <a:solidFill>
                  <a:srgbClr val="FFFFFF"/>
                </a:solidFill>
                <a:latin typeface="Tahoma" panose="020B0604030504040204" pitchFamily="34" charset="0"/>
                <a:ea typeface="Tahoma" panose="020B0604030504040204" pitchFamily="34" charset="0"/>
                <a:cs typeface="Tahoma" panose="020B0604030504040204" pitchFamily="34" charset="0"/>
              </a:rPr>
              <a:t>Peers</a:t>
            </a:r>
          </a:p>
          <a:p>
            <a:pPr algn="ctr" defTabSz="1219170">
              <a:defRPr/>
            </a:pPr>
            <a:r>
              <a:rPr lang="en-GB" sz="1400" kern="0">
                <a:solidFill>
                  <a:srgbClr val="FFFFFF"/>
                </a:solidFill>
                <a:latin typeface="Tahoma" panose="020B0604030504040204" pitchFamily="34" charset="0"/>
                <a:ea typeface="Tahoma" panose="020B0604030504040204" pitchFamily="34" charset="0"/>
                <a:cs typeface="Tahoma" panose="020B0604030504040204" pitchFamily="34" charset="0"/>
              </a:rPr>
              <a:t>Amplify Impact</a:t>
            </a:r>
          </a:p>
        </p:txBody>
      </p:sp>
      <p:sp>
        <p:nvSpPr>
          <p:cNvPr id="24" name="Rectangle 23">
            <a:extLst>
              <a:ext uri="{FF2B5EF4-FFF2-40B4-BE49-F238E27FC236}">
                <a16:creationId xmlns:a16="http://schemas.microsoft.com/office/drawing/2014/main" id="{229D220B-C89F-4422-9188-623F7BDBE6E1}"/>
              </a:ext>
            </a:extLst>
          </p:cNvPr>
          <p:cNvSpPr/>
          <p:nvPr/>
        </p:nvSpPr>
        <p:spPr>
          <a:xfrm>
            <a:off x="2944980" y="2131014"/>
            <a:ext cx="7153243" cy="528000"/>
          </a:xfrm>
          <a:prstGeom prst="rect">
            <a:avLst/>
          </a:prstGeom>
          <a:solidFill>
            <a:schemeClr val="accent3"/>
          </a:solidFill>
          <a:ln w="12700" cap="sq" cmpd="sng" algn="ctr">
            <a:solidFill>
              <a:schemeClr val="accent1"/>
            </a:solidFill>
            <a:prstDash val="solid"/>
          </a:ln>
          <a:effectLst/>
        </p:spPr>
        <p:txBody>
          <a:bodyPr rtlCol="0" anchor="ctr"/>
          <a:lstStyle/>
          <a:p>
            <a:pPr algn="ctr" defTabSz="1219170">
              <a:defRPr/>
            </a:pPr>
            <a:r>
              <a:rPr lang="en-GB" sz="1400" b="1" kern="0">
                <a:latin typeface="Tahoma" panose="020B0604030504040204" pitchFamily="34" charset="0"/>
                <a:ea typeface="Tahoma" panose="020B0604030504040204" pitchFamily="34" charset="0"/>
                <a:cs typeface="Tahoma" panose="020B0604030504040204" pitchFamily="34" charset="0"/>
              </a:rPr>
              <a:t>Reach &amp; Engagement</a:t>
            </a:r>
            <a:br>
              <a:rPr lang="en-GB" sz="1400" kern="0">
                <a:latin typeface="Tahoma" panose="020B0604030504040204" pitchFamily="34" charset="0"/>
                <a:ea typeface="Tahoma" panose="020B0604030504040204" pitchFamily="34" charset="0"/>
                <a:cs typeface="Tahoma" panose="020B0604030504040204" pitchFamily="34" charset="0"/>
              </a:rPr>
            </a:br>
            <a:r>
              <a:rPr lang="en-GB" sz="1100" kern="0">
                <a:latin typeface="Tahoma" panose="020B0604030504040204" pitchFamily="34" charset="0"/>
                <a:ea typeface="Tahoma" panose="020B0604030504040204" pitchFamily="34" charset="0"/>
                <a:cs typeface="Tahoma" panose="020B0604030504040204" pitchFamily="34" charset="0"/>
              </a:rPr>
              <a:t>(training completion rates)</a:t>
            </a:r>
            <a:endParaRPr lang="en-GB" sz="1100" b="1" kern="0">
              <a:latin typeface="Tahoma" panose="020B0604030504040204" pitchFamily="34" charset="0"/>
              <a:ea typeface="Tahoma" panose="020B0604030504040204" pitchFamily="34" charset="0"/>
              <a:cs typeface="Tahoma" panose="020B0604030504040204" pitchFamily="34" charset="0"/>
            </a:endParaRPr>
          </a:p>
        </p:txBody>
      </p:sp>
      <p:sp>
        <p:nvSpPr>
          <p:cNvPr id="25" name="Rectangle 24">
            <a:extLst>
              <a:ext uri="{FF2B5EF4-FFF2-40B4-BE49-F238E27FC236}">
                <a16:creationId xmlns:a16="http://schemas.microsoft.com/office/drawing/2014/main" id="{B2A48810-EFF3-450A-80A8-419BF626E373}"/>
              </a:ext>
            </a:extLst>
          </p:cNvPr>
          <p:cNvSpPr/>
          <p:nvPr/>
        </p:nvSpPr>
        <p:spPr>
          <a:xfrm>
            <a:off x="2944980" y="4263809"/>
            <a:ext cx="7153243" cy="543315"/>
          </a:xfrm>
          <a:prstGeom prst="rect">
            <a:avLst/>
          </a:prstGeom>
          <a:solidFill>
            <a:srgbClr val="EBB95F"/>
          </a:solidFill>
          <a:ln w="12700" cap="sq" cmpd="sng" algn="ctr">
            <a:noFill/>
            <a:prstDash val="solid"/>
          </a:ln>
          <a:effectLst/>
        </p:spPr>
        <p:txBody>
          <a:bodyPr rtlCol="0" anchor="ctr"/>
          <a:lstStyle/>
          <a:p>
            <a:pPr algn="ctr" defTabSz="1219170">
              <a:defRPr/>
            </a:pPr>
            <a:r>
              <a:rPr lang="en-GB" sz="1400" b="1" kern="0">
                <a:latin typeface="Tahoma" panose="020B0604030504040204" pitchFamily="34" charset="0"/>
                <a:ea typeface="Tahoma" panose="020B0604030504040204" pitchFamily="34" charset="0"/>
                <a:cs typeface="Tahoma" panose="020B0604030504040204" pitchFamily="34" charset="0"/>
              </a:rPr>
              <a:t>SENSEMAKING</a:t>
            </a:r>
          </a:p>
          <a:p>
            <a:pPr algn="ctr" defTabSz="1219170">
              <a:defRPr/>
            </a:pPr>
            <a:r>
              <a:rPr lang="en-GB" sz="1400" i="1" kern="0">
                <a:latin typeface="Tahoma" panose="020B0604030504040204" pitchFamily="34" charset="0"/>
                <a:ea typeface="Tahoma" panose="020B0604030504040204" pitchFamily="34" charset="0"/>
                <a:cs typeface="Tahoma" panose="020B0604030504040204" pitchFamily="34" charset="0"/>
              </a:rPr>
              <a:t>Helping learners see the impact &amp; ripple effects of their changes</a:t>
            </a:r>
          </a:p>
        </p:txBody>
      </p:sp>
      <p:cxnSp>
        <p:nvCxnSpPr>
          <p:cNvPr id="26" name="Straight Connector 25">
            <a:extLst>
              <a:ext uri="{FF2B5EF4-FFF2-40B4-BE49-F238E27FC236}">
                <a16:creationId xmlns:a16="http://schemas.microsoft.com/office/drawing/2014/main" id="{DCFDDBB7-CDE4-4CC7-BBD1-0AE239AD5F72}"/>
              </a:ext>
            </a:extLst>
          </p:cNvPr>
          <p:cNvCxnSpPr>
            <a:cxnSpLocks/>
          </p:cNvCxnSpPr>
          <p:nvPr/>
        </p:nvCxnSpPr>
        <p:spPr>
          <a:xfrm>
            <a:off x="2107983" y="2045185"/>
            <a:ext cx="0" cy="18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F1D1CF7-5581-4705-9A3E-0D98DED58A13}"/>
              </a:ext>
            </a:extLst>
          </p:cNvPr>
          <p:cNvCxnSpPr>
            <a:cxnSpLocks/>
          </p:cNvCxnSpPr>
          <p:nvPr/>
        </p:nvCxnSpPr>
        <p:spPr>
          <a:xfrm>
            <a:off x="2126823" y="4165084"/>
            <a:ext cx="0" cy="72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62DE3932-9E33-4BEB-978A-C6D0C4BD8E71}"/>
              </a:ext>
            </a:extLst>
          </p:cNvPr>
          <p:cNvSpPr/>
          <p:nvPr/>
        </p:nvSpPr>
        <p:spPr>
          <a:xfrm>
            <a:off x="292435" y="2673315"/>
            <a:ext cx="1828404" cy="6124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1219170">
              <a:defRPr/>
            </a:pPr>
            <a:r>
              <a:rPr lang="de-CH" sz="1600" b="1">
                <a:solidFill>
                  <a:schemeClr val="tx1"/>
                </a:solidFill>
                <a:latin typeface="Tahoma" panose="020B0604030504040204" pitchFamily="34" charset="0"/>
                <a:ea typeface="Tahoma" panose="020B0604030504040204" pitchFamily="34" charset="0"/>
                <a:cs typeface="Tahoma" panose="020B0604030504040204" pitchFamily="34" charset="0"/>
              </a:rPr>
              <a:t>IMPACT</a:t>
            </a:r>
          </a:p>
          <a:p>
            <a:pPr algn="r" defTabSz="1219170">
              <a:defRPr/>
            </a:pPr>
            <a:r>
              <a:rPr lang="de-CH" sz="1333" i="1">
                <a:solidFill>
                  <a:schemeClr val="tx1"/>
                </a:solidFill>
                <a:latin typeface="Tahoma" panose="020B0604030504040204" pitchFamily="34" charset="0"/>
                <a:ea typeface="Tahoma" panose="020B0604030504040204" pitchFamily="34" charset="0"/>
                <a:cs typeface="Tahoma" panose="020B0604030504040204" pitchFamily="34" charset="0"/>
              </a:rPr>
              <a:t>Consistent measurement methods across all multiple touchpoints</a:t>
            </a:r>
            <a:endParaRPr lang="en-US" sz="1333" i="1">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29" name="Rectangle 28">
            <a:extLst>
              <a:ext uri="{FF2B5EF4-FFF2-40B4-BE49-F238E27FC236}">
                <a16:creationId xmlns:a16="http://schemas.microsoft.com/office/drawing/2014/main" id="{9C252541-21B0-43D7-99A5-E805E69BE326}"/>
              </a:ext>
            </a:extLst>
          </p:cNvPr>
          <p:cNvSpPr/>
          <p:nvPr/>
        </p:nvSpPr>
        <p:spPr>
          <a:xfrm>
            <a:off x="52118" y="4348054"/>
            <a:ext cx="2055865" cy="6124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1219170">
              <a:defRPr/>
            </a:pPr>
            <a:r>
              <a:rPr lang="de-CH" sz="1600" b="1">
                <a:solidFill>
                  <a:schemeClr val="tx1"/>
                </a:solidFill>
                <a:latin typeface="Tahoma" panose="020B0604030504040204" pitchFamily="34" charset="0"/>
                <a:ea typeface="Tahoma" panose="020B0604030504040204" pitchFamily="34" charset="0"/>
                <a:cs typeface="Tahoma" panose="020B0604030504040204" pitchFamily="34" charset="0"/>
              </a:rPr>
              <a:t>SENSEMAKING</a:t>
            </a:r>
          </a:p>
          <a:p>
            <a:pPr algn="r" defTabSz="1219170">
              <a:defRPr/>
            </a:pPr>
            <a:r>
              <a:rPr lang="de-CH" sz="1333" i="1">
                <a:solidFill>
                  <a:schemeClr val="tx1"/>
                </a:solidFill>
                <a:latin typeface="Tahoma" panose="020B0604030504040204" pitchFamily="34" charset="0"/>
                <a:ea typeface="Tahoma" panose="020B0604030504040204" pitchFamily="34" charset="0"/>
                <a:cs typeface="Tahoma" panose="020B0604030504040204" pitchFamily="34" charset="0"/>
              </a:rPr>
              <a:t>Finding the ‘so what’ of the data they are seeing</a:t>
            </a:r>
            <a:endParaRPr lang="en-US" sz="1333" i="1">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30" name="Rectangle 29">
            <a:extLst>
              <a:ext uri="{FF2B5EF4-FFF2-40B4-BE49-F238E27FC236}">
                <a16:creationId xmlns:a16="http://schemas.microsoft.com/office/drawing/2014/main" id="{58C39B38-4388-4A17-9869-1F5AF97E6066}"/>
              </a:ext>
            </a:extLst>
          </p:cNvPr>
          <p:cNvSpPr/>
          <p:nvPr/>
        </p:nvSpPr>
        <p:spPr>
          <a:xfrm>
            <a:off x="2944980" y="2717185"/>
            <a:ext cx="7153243" cy="528000"/>
          </a:xfrm>
          <a:prstGeom prst="rect">
            <a:avLst/>
          </a:prstGeom>
          <a:solidFill>
            <a:schemeClr val="accent3"/>
          </a:solidFill>
          <a:ln w="12700" cap="sq" cmpd="sng" algn="ctr">
            <a:solidFill>
              <a:schemeClr val="accent1"/>
            </a:solidFill>
            <a:prstDash val="solid"/>
          </a:ln>
          <a:effectLst/>
        </p:spPr>
        <p:txBody>
          <a:bodyPr lIns="91440" tIns="45720" rIns="91440" bIns="45720" rtlCol="0" anchor="ctr"/>
          <a:lstStyle/>
          <a:p>
            <a:pPr algn="ctr" defTabSz="1219170">
              <a:defRPr/>
            </a:pPr>
            <a:r>
              <a:rPr lang="en-GB" sz="1400" b="1" kern="0">
                <a:latin typeface="Tahoma"/>
                <a:ea typeface="Tahoma"/>
                <a:cs typeface="Tahoma"/>
              </a:rPr>
              <a:t>Participant Sentiment – towards self and the experience</a:t>
            </a:r>
            <a:br>
              <a:rPr lang="en-GB" sz="1400" kern="0">
                <a:latin typeface="Tahoma" panose="020B0604030504040204" pitchFamily="34" charset="0"/>
                <a:ea typeface="Tahoma" panose="020B0604030504040204" pitchFamily="34" charset="0"/>
                <a:cs typeface="Tahoma" panose="020B0604030504040204" pitchFamily="34" charset="0"/>
              </a:rPr>
            </a:br>
            <a:r>
              <a:rPr lang="en-GB" sz="1100" kern="0">
                <a:latin typeface="Tahoma"/>
                <a:ea typeface="Tahoma"/>
                <a:cs typeface="Tahoma"/>
              </a:rPr>
              <a:t>(experience of training &amp; new behaviours, on self)</a:t>
            </a:r>
            <a:endParaRPr lang="en-GB" sz="1400" b="1" kern="0">
              <a:latin typeface="Tahoma"/>
              <a:ea typeface="Tahoma"/>
              <a:cs typeface="Tahoma"/>
            </a:endParaRPr>
          </a:p>
        </p:txBody>
      </p:sp>
      <p:sp>
        <p:nvSpPr>
          <p:cNvPr id="31" name="Rectangle 30">
            <a:extLst>
              <a:ext uri="{FF2B5EF4-FFF2-40B4-BE49-F238E27FC236}">
                <a16:creationId xmlns:a16="http://schemas.microsoft.com/office/drawing/2014/main" id="{4DE28CF3-F998-4BDF-B783-9ADEA96C02D0}"/>
              </a:ext>
            </a:extLst>
          </p:cNvPr>
          <p:cNvSpPr/>
          <p:nvPr/>
        </p:nvSpPr>
        <p:spPr>
          <a:xfrm>
            <a:off x="2944980" y="3303356"/>
            <a:ext cx="7153243" cy="521868"/>
          </a:xfrm>
          <a:prstGeom prst="rect">
            <a:avLst/>
          </a:prstGeom>
          <a:solidFill>
            <a:schemeClr val="accent3"/>
          </a:solidFill>
          <a:ln w="12700" cap="sq" cmpd="sng" algn="ctr">
            <a:solidFill>
              <a:schemeClr val="accent1"/>
            </a:solidFill>
            <a:prstDash val="solid"/>
          </a:ln>
          <a:effectLst/>
        </p:spPr>
        <p:txBody>
          <a:bodyPr lIns="91440" tIns="45720" rIns="91440" bIns="45720" rtlCol="0" anchor="ctr"/>
          <a:lstStyle/>
          <a:p>
            <a:pPr algn="ctr" defTabSz="1219170">
              <a:defRPr/>
            </a:pPr>
            <a:endParaRPr lang="en-GB" sz="1400" b="1" kern="0">
              <a:latin typeface="Tahoma" panose="020B0604030504040204" pitchFamily="34" charset="0"/>
              <a:ea typeface="Tahoma" panose="020B0604030504040204" pitchFamily="34" charset="0"/>
              <a:cs typeface="Tahoma" panose="020B0604030504040204" pitchFamily="34" charset="0"/>
            </a:endParaRPr>
          </a:p>
          <a:p>
            <a:pPr algn="ctr" defTabSz="1219170">
              <a:defRPr/>
            </a:pPr>
            <a:r>
              <a:rPr lang="en-GB" sz="1400" b="1" kern="0">
                <a:latin typeface="Tahoma"/>
                <a:ea typeface="Tahoma"/>
                <a:cs typeface="Tahoma"/>
              </a:rPr>
              <a:t>Ripple Effects</a:t>
            </a:r>
            <a:br>
              <a:rPr lang="en-GB" sz="1400" kern="0">
                <a:latin typeface="Tahoma" panose="020B0604030504040204" pitchFamily="34" charset="0"/>
                <a:ea typeface="Tahoma" panose="020B0604030504040204" pitchFamily="34" charset="0"/>
                <a:cs typeface="Tahoma" panose="020B0604030504040204" pitchFamily="34" charset="0"/>
              </a:rPr>
            </a:br>
            <a:r>
              <a:rPr lang="en-GB" sz="1100" kern="0">
                <a:latin typeface="Tahoma"/>
                <a:ea typeface="Tahoma"/>
                <a:cs typeface="Tahoma"/>
              </a:rPr>
              <a:t>(emergence and impact of new behaviours on peers, firm, clients and output metrics)</a:t>
            </a:r>
            <a:endParaRPr lang="en-GB" sz="1400" b="1" kern="0">
              <a:latin typeface="Tahoma"/>
              <a:ea typeface="Tahoma"/>
              <a:cs typeface="Tahoma"/>
            </a:endParaRPr>
          </a:p>
          <a:p>
            <a:pPr algn="ctr" defTabSz="1219170">
              <a:defRPr/>
            </a:pPr>
            <a:endParaRPr lang="en-GB" sz="1400" b="1" kern="0">
              <a:latin typeface="Tahoma" panose="020B0604030504040204" pitchFamily="34" charset="0"/>
              <a:ea typeface="Tahoma" panose="020B0604030504040204" pitchFamily="34" charset="0"/>
              <a:cs typeface="Tahoma" panose="020B0604030504040204" pitchFamily="34" charset="0"/>
            </a:endParaRPr>
          </a:p>
        </p:txBody>
      </p:sp>
      <p:pic>
        <p:nvPicPr>
          <p:cNvPr id="45" name="Picture 44" descr="A picture containing projector, vector graphics&#10;&#10;Description automatically generated">
            <a:extLst>
              <a:ext uri="{FF2B5EF4-FFF2-40B4-BE49-F238E27FC236}">
                <a16:creationId xmlns:a16="http://schemas.microsoft.com/office/drawing/2014/main" id="{5898FE12-9C97-4B31-952F-0328FF10AF83}"/>
              </a:ext>
            </a:extLst>
          </p:cNvPr>
          <p:cNvPicPr>
            <a:picLocks noChangeAspect="1"/>
          </p:cNvPicPr>
          <p:nvPr/>
        </p:nvPicPr>
        <p:blipFill>
          <a:blip r:embed="rId2"/>
          <a:stretch>
            <a:fillRect/>
          </a:stretch>
        </p:blipFill>
        <p:spPr>
          <a:xfrm>
            <a:off x="2333479" y="3303356"/>
            <a:ext cx="528000" cy="528000"/>
          </a:xfrm>
          <a:prstGeom prst="rect">
            <a:avLst/>
          </a:prstGeom>
          <a:ln>
            <a:solidFill>
              <a:schemeClr val="tx1"/>
            </a:solidFill>
          </a:ln>
        </p:spPr>
      </p:pic>
      <p:pic>
        <p:nvPicPr>
          <p:cNvPr id="47" name="Picture 46" descr="A picture containing logo&#10;&#10;Description automatically generated">
            <a:extLst>
              <a:ext uri="{FF2B5EF4-FFF2-40B4-BE49-F238E27FC236}">
                <a16:creationId xmlns:a16="http://schemas.microsoft.com/office/drawing/2014/main" id="{915F45C2-9CB5-481E-9232-505D876E4CA5}"/>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900"/>
                    </a14:imgEffect>
                  </a14:imgLayer>
                </a14:imgProps>
              </a:ext>
            </a:extLst>
          </a:blip>
          <a:stretch>
            <a:fillRect/>
          </a:stretch>
        </p:blipFill>
        <p:spPr>
          <a:xfrm>
            <a:off x="2333479" y="4263809"/>
            <a:ext cx="528000" cy="528000"/>
          </a:xfrm>
          <a:prstGeom prst="rect">
            <a:avLst/>
          </a:prstGeom>
          <a:ln>
            <a:solidFill>
              <a:schemeClr val="tx1"/>
            </a:solidFill>
          </a:ln>
        </p:spPr>
      </p:pic>
      <p:pic>
        <p:nvPicPr>
          <p:cNvPr id="48" name="Picture 47" descr="Icon&#10;&#10;Description automatically generated">
            <a:extLst>
              <a:ext uri="{FF2B5EF4-FFF2-40B4-BE49-F238E27FC236}">
                <a16:creationId xmlns:a16="http://schemas.microsoft.com/office/drawing/2014/main" id="{FF88FD7D-339A-489A-AAED-9AB145CEF6D1}"/>
              </a:ext>
            </a:extLst>
          </p:cNvPr>
          <p:cNvPicPr>
            <a:picLocks noChangeAspect="1"/>
          </p:cNvPicPr>
          <p:nvPr/>
        </p:nvPicPr>
        <p:blipFill>
          <a:blip r:embed="rId5"/>
          <a:stretch>
            <a:fillRect/>
          </a:stretch>
        </p:blipFill>
        <p:spPr>
          <a:xfrm>
            <a:off x="2333479" y="2132033"/>
            <a:ext cx="528000" cy="528000"/>
          </a:xfrm>
          <a:prstGeom prst="rect">
            <a:avLst/>
          </a:prstGeom>
          <a:ln>
            <a:solidFill>
              <a:schemeClr val="tx1"/>
            </a:solidFill>
          </a:ln>
        </p:spPr>
      </p:pic>
      <p:pic>
        <p:nvPicPr>
          <p:cNvPr id="49" name="Picture 48" descr="Icon&#10;&#10;Description automatically generated with medium confidence">
            <a:extLst>
              <a:ext uri="{FF2B5EF4-FFF2-40B4-BE49-F238E27FC236}">
                <a16:creationId xmlns:a16="http://schemas.microsoft.com/office/drawing/2014/main" id="{27CE96E2-BF7C-4654-B073-2E22D2F469B5}"/>
              </a:ext>
            </a:extLst>
          </p:cNvPr>
          <p:cNvPicPr>
            <a:picLocks noChangeAspect="1"/>
          </p:cNvPicPr>
          <p:nvPr/>
        </p:nvPicPr>
        <p:blipFill>
          <a:blip r:embed="rId6"/>
          <a:stretch>
            <a:fillRect/>
          </a:stretch>
        </p:blipFill>
        <p:spPr>
          <a:xfrm>
            <a:off x="2333479" y="2719560"/>
            <a:ext cx="528000" cy="528000"/>
          </a:xfrm>
          <a:prstGeom prst="rect">
            <a:avLst/>
          </a:prstGeom>
          <a:ln>
            <a:solidFill>
              <a:schemeClr val="tx1"/>
            </a:solidFill>
          </a:ln>
        </p:spPr>
      </p:pic>
      <p:sp>
        <p:nvSpPr>
          <p:cNvPr id="50" name="Rectangle 49">
            <a:extLst>
              <a:ext uri="{FF2B5EF4-FFF2-40B4-BE49-F238E27FC236}">
                <a16:creationId xmlns:a16="http://schemas.microsoft.com/office/drawing/2014/main" id="{589943A3-D46D-49AE-B3FB-BC9CAD5BD4BD}"/>
              </a:ext>
            </a:extLst>
          </p:cNvPr>
          <p:cNvSpPr/>
          <p:nvPr/>
        </p:nvSpPr>
        <p:spPr>
          <a:xfrm>
            <a:off x="10344506" y="2131015"/>
            <a:ext cx="1555044" cy="16942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143996" indent="-143996">
              <a:spcAft>
                <a:spcPts val="800"/>
              </a:spcAft>
              <a:buFont typeface="Arial" panose="020B0604020202020204" pitchFamily="34" charset="0"/>
              <a:buChar char="•"/>
            </a:pPr>
            <a:r>
              <a:rPr lang="en-US" sz="1067">
                <a:solidFill>
                  <a:schemeClr val="tx1"/>
                </a:solidFill>
                <a:latin typeface="Tahoma" panose="020B0604030504040204" pitchFamily="34" charset="0"/>
                <a:ea typeface="Tahoma" panose="020B0604030504040204" pitchFamily="34" charset="0"/>
                <a:cs typeface="Tahoma" panose="020B0604030504040204" pitchFamily="34" charset="0"/>
              </a:rPr>
              <a:t>Continuous monitoring</a:t>
            </a:r>
          </a:p>
          <a:p>
            <a:pPr marL="143996" indent="-143996">
              <a:spcAft>
                <a:spcPts val="800"/>
              </a:spcAft>
              <a:buFont typeface="Arial" panose="020B0604020202020204" pitchFamily="34" charset="0"/>
              <a:buChar char="•"/>
            </a:pPr>
            <a:r>
              <a:rPr lang="en-US" sz="1067">
                <a:solidFill>
                  <a:schemeClr val="tx1"/>
                </a:solidFill>
                <a:latin typeface="Tahoma" panose="020B0604030504040204" pitchFamily="34" charset="0"/>
                <a:ea typeface="Tahoma" panose="020B0604030504040204" pitchFamily="34" charset="0"/>
                <a:cs typeface="Tahoma" panose="020B0604030504040204" pitchFamily="34" charset="0"/>
              </a:rPr>
              <a:t>Top-down analyses</a:t>
            </a:r>
          </a:p>
          <a:p>
            <a:pPr marL="143996" indent="-143996">
              <a:spcAft>
                <a:spcPts val="800"/>
              </a:spcAft>
              <a:buFont typeface="Arial" panose="020B0604020202020204" pitchFamily="34" charset="0"/>
              <a:buChar char="•"/>
            </a:pPr>
            <a:r>
              <a:rPr lang="en-US" sz="1067">
                <a:solidFill>
                  <a:schemeClr val="tx1"/>
                </a:solidFill>
                <a:latin typeface="Tahoma" panose="020B0604030504040204" pitchFamily="34" charset="0"/>
                <a:ea typeface="Tahoma" panose="020B0604030504040204" pitchFamily="34" charset="0"/>
                <a:cs typeface="Tahoma" panose="020B0604030504040204" pitchFamily="34" charset="0"/>
              </a:rPr>
              <a:t>Regular cadence </a:t>
            </a:r>
          </a:p>
        </p:txBody>
      </p:sp>
      <p:sp>
        <p:nvSpPr>
          <p:cNvPr id="51" name="Rectangle 50">
            <a:extLst>
              <a:ext uri="{FF2B5EF4-FFF2-40B4-BE49-F238E27FC236}">
                <a16:creationId xmlns:a16="http://schemas.microsoft.com/office/drawing/2014/main" id="{7DD9AE65-8F46-4AE8-8B8E-68580E08B265}"/>
              </a:ext>
            </a:extLst>
          </p:cNvPr>
          <p:cNvSpPr/>
          <p:nvPr/>
        </p:nvSpPr>
        <p:spPr>
          <a:xfrm>
            <a:off x="10344507" y="4129321"/>
            <a:ext cx="1574539" cy="8080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143996" indent="-143996">
              <a:spcAft>
                <a:spcPts val="800"/>
              </a:spcAft>
              <a:buFont typeface="Arial" panose="020B0604020202020204" pitchFamily="34" charset="0"/>
              <a:buChar char="•"/>
            </a:pPr>
            <a:r>
              <a:rPr lang="en-US" sz="1067">
                <a:solidFill>
                  <a:schemeClr val="tx1"/>
                </a:solidFill>
                <a:latin typeface="Tahoma" panose="020B0604030504040204" pitchFamily="34" charset="0"/>
                <a:ea typeface="Tahoma" panose="020B0604030504040204" pitchFamily="34" charset="0"/>
                <a:cs typeface="Tahoma" panose="020B0604030504040204" pitchFamily="34" charset="0"/>
              </a:rPr>
              <a:t>Cyclical deep dives</a:t>
            </a:r>
          </a:p>
          <a:p>
            <a:pPr marL="143996" indent="-143996">
              <a:spcAft>
                <a:spcPts val="800"/>
              </a:spcAft>
              <a:buFont typeface="Arial" panose="020B0604020202020204" pitchFamily="34" charset="0"/>
              <a:buChar char="•"/>
            </a:pPr>
            <a:r>
              <a:rPr lang="en-US" sz="1067">
                <a:solidFill>
                  <a:schemeClr val="tx1"/>
                </a:solidFill>
                <a:latin typeface="Tahoma" panose="020B0604030504040204" pitchFamily="34" charset="0"/>
                <a:ea typeface="Tahoma" panose="020B0604030504040204" pitchFamily="34" charset="0"/>
                <a:cs typeface="Tahoma" panose="020B0604030504040204" pitchFamily="34" charset="0"/>
              </a:rPr>
              <a:t>Bottom-up analyses</a:t>
            </a:r>
          </a:p>
          <a:p>
            <a:pPr marL="143996" indent="-143996">
              <a:spcAft>
                <a:spcPts val="800"/>
              </a:spcAft>
              <a:buFont typeface="Arial" panose="020B0604020202020204" pitchFamily="34" charset="0"/>
              <a:buChar char="•"/>
            </a:pPr>
            <a:r>
              <a:rPr lang="en-US" sz="1067">
                <a:solidFill>
                  <a:schemeClr val="tx1"/>
                </a:solidFill>
                <a:latin typeface="Tahoma" panose="020B0604030504040204" pitchFamily="34" charset="0"/>
                <a:ea typeface="Tahoma" panose="020B0604030504040204" pitchFamily="34" charset="0"/>
                <a:cs typeface="Tahoma" panose="020B0604030504040204" pitchFamily="34" charset="0"/>
              </a:rPr>
              <a:t>Reflective discussions</a:t>
            </a:r>
          </a:p>
        </p:txBody>
      </p:sp>
      <p:sp>
        <p:nvSpPr>
          <p:cNvPr id="54" name="TextBox 53">
            <a:extLst>
              <a:ext uri="{FF2B5EF4-FFF2-40B4-BE49-F238E27FC236}">
                <a16:creationId xmlns:a16="http://schemas.microsoft.com/office/drawing/2014/main" id="{A6225031-ADD9-47B5-B2FA-FAB010EDE997}"/>
              </a:ext>
            </a:extLst>
          </p:cNvPr>
          <p:cNvSpPr txBox="1"/>
          <p:nvPr/>
        </p:nvSpPr>
        <p:spPr>
          <a:xfrm>
            <a:off x="5246826" y="5203077"/>
            <a:ext cx="2549550" cy="453884"/>
          </a:xfrm>
          <a:prstGeom prst="roundRect">
            <a:avLst/>
          </a:prstGeom>
          <a:solidFill>
            <a:schemeClr val="accent2"/>
          </a:solidFill>
          <a:ln>
            <a:solidFill>
              <a:schemeClr val="accent2">
                <a:lumMod val="75000"/>
              </a:schemeClr>
            </a:solidFill>
          </a:ln>
        </p:spPr>
        <p:txBody>
          <a:bodyPr wrap="square" rtlCol="0" anchor="ctr" anchorCtr="0">
            <a:noAutofit/>
          </a:bodyPr>
          <a:lstStyle/>
          <a:p>
            <a:pPr algn="ctr"/>
            <a:r>
              <a:rPr lang="en-US" sz="1600" b="1" i="1">
                <a:solidFill>
                  <a:schemeClr val="bg1"/>
                </a:solidFill>
                <a:latin typeface="Tahoma" panose="020B0604030504040204" pitchFamily="34" charset="0"/>
                <a:ea typeface="Tahoma" panose="020B0604030504040204" pitchFamily="34" charset="0"/>
                <a:cs typeface="Tahoma" panose="020B0604030504040204" pitchFamily="34" charset="0"/>
              </a:rPr>
              <a:t>Firm-wide insights </a:t>
            </a:r>
          </a:p>
        </p:txBody>
      </p:sp>
      <p:cxnSp>
        <p:nvCxnSpPr>
          <p:cNvPr id="55" name="Connector: Elbow 54">
            <a:extLst>
              <a:ext uri="{FF2B5EF4-FFF2-40B4-BE49-F238E27FC236}">
                <a16:creationId xmlns:a16="http://schemas.microsoft.com/office/drawing/2014/main" id="{DEEF26F5-D2FB-4EFA-9B1C-7B88AC8D70E4}"/>
              </a:ext>
            </a:extLst>
          </p:cNvPr>
          <p:cNvCxnSpPr>
            <a:cxnSpLocks/>
            <a:stCxn id="24" idx="3"/>
            <a:endCxn id="54" idx="3"/>
          </p:cNvCxnSpPr>
          <p:nvPr/>
        </p:nvCxnSpPr>
        <p:spPr>
          <a:xfrm flipH="1">
            <a:off x="7796376" y="2395014"/>
            <a:ext cx="2301847" cy="3035005"/>
          </a:xfrm>
          <a:prstGeom prst="bentConnector3">
            <a:avLst>
              <a:gd name="adj1" fmla="val -9931"/>
            </a:avLst>
          </a:prstGeom>
          <a:ln>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EB488763-517D-4E50-83DC-5058C7E6199D}"/>
              </a:ext>
            </a:extLst>
          </p:cNvPr>
          <p:cNvCxnSpPr>
            <a:cxnSpLocks/>
            <a:stCxn id="30" idx="3"/>
            <a:endCxn id="54" idx="3"/>
          </p:cNvCxnSpPr>
          <p:nvPr/>
        </p:nvCxnSpPr>
        <p:spPr>
          <a:xfrm flipH="1">
            <a:off x="7796376" y="2981185"/>
            <a:ext cx="2301847" cy="2448834"/>
          </a:xfrm>
          <a:prstGeom prst="bentConnector3">
            <a:avLst>
              <a:gd name="adj1" fmla="val -9931"/>
            </a:avLst>
          </a:prstGeom>
          <a:ln>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984B3D29-A7E8-47D7-9ABA-E38BFC3B88FF}"/>
              </a:ext>
            </a:extLst>
          </p:cNvPr>
          <p:cNvCxnSpPr>
            <a:cxnSpLocks/>
            <a:stCxn id="31" idx="3"/>
            <a:endCxn id="54" idx="3"/>
          </p:cNvCxnSpPr>
          <p:nvPr/>
        </p:nvCxnSpPr>
        <p:spPr>
          <a:xfrm flipH="1">
            <a:off x="7796376" y="3564290"/>
            <a:ext cx="2301847" cy="1865729"/>
          </a:xfrm>
          <a:prstGeom prst="bentConnector3">
            <a:avLst>
              <a:gd name="adj1" fmla="val -9931"/>
            </a:avLst>
          </a:prstGeom>
          <a:ln>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9A6D31A2-7AF3-45F7-953D-B0360D0C1EC7}"/>
              </a:ext>
            </a:extLst>
          </p:cNvPr>
          <p:cNvCxnSpPr>
            <a:cxnSpLocks/>
            <a:stCxn id="25" idx="3"/>
            <a:endCxn id="54" idx="3"/>
          </p:cNvCxnSpPr>
          <p:nvPr/>
        </p:nvCxnSpPr>
        <p:spPr>
          <a:xfrm flipH="1">
            <a:off x="7796376" y="4535467"/>
            <a:ext cx="2301847" cy="894552"/>
          </a:xfrm>
          <a:prstGeom prst="bentConnector3">
            <a:avLst>
              <a:gd name="adj1" fmla="val -9931"/>
            </a:avLst>
          </a:prstGeom>
          <a:ln>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0B4D3922-D765-3084-9C1F-1C5B1EE76AC2}"/>
              </a:ext>
            </a:extLst>
          </p:cNvPr>
          <p:cNvSpPr/>
          <p:nvPr/>
        </p:nvSpPr>
        <p:spPr>
          <a:xfrm>
            <a:off x="8339885" y="1225340"/>
            <a:ext cx="1931043" cy="626693"/>
          </a:xfrm>
          <a:prstGeom prst="rect">
            <a:avLst/>
          </a:prstGeom>
          <a:solidFill>
            <a:schemeClr val="accent2">
              <a:lumMod val="50000"/>
            </a:schemeClr>
          </a:solidFill>
          <a:ln w="12700" cap="sq" cmpd="sng" algn="ctr">
            <a:noFill/>
            <a:prstDash val="solid"/>
          </a:ln>
          <a:effectLst/>
        </p:spPr>
        <p:txBody>
          <a:bodyPr rtlCol="0" anchor="ctr"/>
          <a:lstStyle/>
          <a:p>
            <a:pPr algn="ctr" defTabSz="1219170">
              <a:defRPr/>
            </a:pPr>
            <a:r>
              <a:rPr lang="en-GB" sz="1400" b="1" kern="0">
                <a:solidFill>
                  <a:srgbClr val="FFFFFF"/>
                </a:solidFill>
                <a:latin typeface="Tahoma" panose="020B0604030504040204" pitchFamily="34" charset="0"/>
                <a:ea typeface="Tahoma" panose="020B0604030504040204" pitchFamily="34" charset="0"/>
                <a:cs typeface="Tahoma" panose="020B0604030504040204" pitchFamily="34" charset="0"/>
              </a:rPr>
              <a:t>Clients</a:t>
            </a:r>
            <a:br>
              <a:rPr lang="en-GB" sz="1400" b="1" kern="0">
                <a:solidFill>
                  <a:srgbClr val="FFFFFF"/>
                </a:solidFill>
                <a:latin typeface="Tahoma" panose="020B0604030504040204" pitchFamily="34" charset="0"/>
                <a:ea typeface="Tahoma" panose="020B0604030504040204" pitchFamily="34" charset="0"/>
                <a:cs typeface="Tahoma" panose="020B0604030504040204" pitchFamily="34" charset="0"/>
              </a:rPr>
            </a:br>
            <a:r>
              <a:rPr lang="en-GB" sz="1400" kern="0">
                <a:solidFill>
                  <a:srgbClr val="FFFFFF"/>
                </a:solidFill>
                <a:latin typeface="Tahoma" panose="020B0604030504040204" pitchFamily="34" charset="0"/>
                <a:ea typeface="Tahoma" panose="020B0604030504040204" pitchFamily="34" charset="0"/>
                <a:cs typeface="Tahoma" panose="020B0604030504040204" pitchFamily="34" charset="0"/>
              </a:rPr>
              <a:t>Trust &amp; revenue</a:t>
            </a:r>
          </a:p>
        </p:txBody>
      </p:sp>
      <p:sp>
        <p:nvSpPr>
          <p:cNvPr id="16" name="Google Shape;113;p2">
            <a:extLst>
              <a:ext uri="{FF2B5EF4-FFF2-40B4-BE49-F238E27FC236}">
                <a16:creationId xmlns:a16="http://schemas.microsoft.com/office/drawing/2014/main" id="{73495F75-0C85-9B5D-C0AE-FF8949B1FF38}"/>
              </a:ext>
            </a:extLst>
          </p:cNvPr>
          <p:cNvSpPr txBox="1">
            <a:spLocks/>
          </p:cNvSpPr>
          <p:nvPr/>
        </p:nvSpPr>
        <p:spPr>
          <a:xfrm>
            <a:off x="11633538" y="6613022"/>
            <a:ext cx="163804" cy="184666"/>
          </a:xfrm>
          <a:prstGeom prst="rect">
            <a:avLst/>
          </a:prstGeom>
          <a:noFill/>
          <a:ln>
            <a:noFill/>
          </a:ln>
        </p:spPr>
        <p:txBody>
          <a:bodyPr spcFirstLastPara="1" wrap="square" lIns="0" tIns="0" rIns="0" bIns="0" anchor="t" anchorCtr="0">
            <a:sp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687617"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1375235"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2062852"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275047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3438086" algn="l" defTabSz="1375235" rtl="0" eaLnBrk="1" latinLnBrk="0" hangingPunct="1">
              <a:defRPr kern="1200">
                <a:solidFill>
                  <a:schemeClr val="tx1"/>
                </a:solidFill>
                <a:latin typeface="Calibri" panose="020F0502020204030204" pitchFamily="34" charset="0"/>
                <a:ea typeface="+mn-ea"/>
                <a:cs typeface="+mn-cs"/>
              </a:defRPr>
            </a:lvl6pPr>
            <a:lvl7pPr marL="4125703" algn="l" defTabSz="1375235" rtl="0" eaLnBrk="1" latinLnBrk="0" hangingPunct="1">
              <a:defRPr kern="1200">
                <a:solidFill>
                  <a:schemeClr val="tx1"/>
                </a:solidFill>
                <a:latin typeface="Calibri" panose="020F0502020204030204" pitchFamily="34" charset="0"/>
                <a:ea typeface="+mn-ea"/>
                <a:cs typeface="+mn-cs"/>
              </a:defRPr>
            </a:lvl7pPr>
            <a:lvl8pPr marL="4813320" algn="l" defTabSz="1375235" rtl="0" eaLnBrk="1" latinLnBrk="0" hangingPunct="1">
              <a:defRPr kern="1200">
                <a:solidFill>
                  <a:schemeClr val="tx1"/>
                </a:solidFill>
                <a:latin typeface="Calibri" panose="020F0502020204030204" pitchFamily="34" charset="0"/>
                <a:ea typeface="+mn-ea"/>
                <a:cs typeface="+mn-cs"/>
              </a:defRPr>
            </a:lvl8pPr>
            <a:lvl9pPr marL="5500937" algn="l" defTabSz="1375235" rtl="0" eaLnBrk="1" latinLnBrk="0" hangingPunct="1">
              <a:defRPr kern="1200">
                <a:solidFill>
                  <a:schemeClr val="tx1"/>
                </a:solidFill>
                <a:latin typeface="Calibri" panose="020F0502020204030204" pitchFamily="34" charset="0"/>
                <a:ea typeface="+mn-ea"/>
                <a:cs typeface="+mn-cs"/>
              </a:defRPr>
            </a:lvl9pPr>
          </a:lstStyle>
          <a:p>
            <a:pPr>
              <a:spcAft>
                <a:spcPts val="0"/>
              </a:spcAft>
            </a:pPr>
            <a:fld id="{00000000-1234-1234-1234-123412341234}" type="slidenum">
              <a:rPr lang="en-GB" sz="1200"/>
              <a:pPr>
                <a:spcAft>
                  <a:spcPts val="0"/>
                </a:spcAft>
              </a:pPr>
              <a:t>13</a:t>
            </a:fld>
            <a:endParaRPr lang="en-GB" sz="1200"/>
          </a:p>
        </p:txBody>
      </p:sp>
      <p:sp>
        <p:nvSpPr>
          <p:cNvPr id="5" name="Freeform: Shape 38">
            <a:extLst>
              <a:ext uri="{FF2B5EF4-FFF2-40B4-BE49-F238E27FC236}">
                <a16:creationId xmlns:a16="http://schemas.microsoft.com/office/drawing/2014/main" id="{88A115F4-ACA4-447E-37EB-9206FF2DA17C}"/>
              </a:ext>
            </a:extLst>
          </p:cNvPr>
          <p:cNvSpPr/>
          <p:nvPr/>
        </p:nvSpPr>
        <p:spPr>
          <a:xfrm>
            <a:off x="120879" y="6388587"/>
            <a:ext cx="3328000" cy="315912"/>
          </a:xfrm>
          <a:custGeom>
            <a:avLst/>
            <a:gdLst>
              <a:gd name="connsiteX0" fmla="*/ 0 w 1255690"/>
              <a:gd name="connsiteY0" fmla="*/ 57398 h 573982"/>
              <a:gd name="connsiteX1" fmla="*/ 57398 w 1255690"/>
              <a:gd name="connsiteY1" fmla="*/ 0 h 573982"/>
              <a:gd name="connsiteX2" fmla="*/ 1198292 w 1255690"/>
              <a:gd name="connsiteY2" fmla="*/ 0 h 573982"/>
              <a:gd name="connsiteX3" fmla="*/ 1255690 w 1255690"/>
              <a:gd name="connsiteY3" fmla="*/ 57398 h 573982"/>
              <a:gd name="connsiteX4" fmla="*/ 1255690 w 1255690"/>
              <a:gd name="connsiteY4" fmla="*/ 516584 h 573982"/>
              <a:gd name="connsiteX5" fmla="*/ 1198292 w 1255690"/>
              <a:gd name="connsiteY5" fmla="*/ 573982 h 573982"/>
              <a:gd name="connsiteX6" fmla="*/ 57398 w 1255690"/>
              <a:gd name="connsiteY6" fmla="*/ 573982 h 573982"/>
              <a:gd name="connsiteX7" fmla="*/ 0 w 1255690"/>
              <a:gd name="connsiteY7" fmla="*/ 516584 h 573982"/>
              <a:gd name="connsiteX8" fmla="*/ 0 w 1255690"/>
              <a:gd name="connsiteY8" fmla="*/ 57398 h 57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5690" h="573982">
                <a:moveTo>
                  <a:pt x="0" y="57398"/>
                </a:moveTo>
                <a:cubicBezTo>
                  <a:pt x="0" y="25698"/>
                  <a:pt x="25698" y="0"/>
                  <a:pt x="57398" y="0"/>
                </a:cubicBezTo>
                <a:lnTo>
                  <a:pt x="1198292" y="0"/>
                </a:lnTo>
                <a:cubicBezTo>
                  <a:pt x="1229992" y="0"/>
                  <a:pt x="1255690" y="25698"/>
                  <a:pt x="1255690" y="57398"/>
                </a:cubicBezTo>
                <a:lnTo>
                  <a:pt x="1255690" y="516584"/>
                </a:lnTo>
                <a:cubicBezTo>
                  <a:pt x="1255690" y="548284"/>
                  <a:pt x="1229992" y="573982"/>
                  <a:pt x="1198292" y="573982"/>
                </a:cubicBezTo>
                <a:lnTo>
                  <a:pt x="57398" y="573982"/>
                </a:lnTo>
                <a:cubicBezTo>
                  <a:pt x="25698" y="573982"/>
                  <a:pt x="0" y="548284"/>
                  <a:pt x="0" y="516584"/>
                </a:cubicBezTo>
                <a:lnTo>
                  <a:pt x="0" y="57398"/>
                </a:lnTo>
                <a:close/>
              </a:path>
            </a:pathLst>
          </a:cu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6000" tIns="36000" rIns="36000" bIns="36000" numCol="1" spcCol="1270" anchor="t" anchorCtr="0">
            <a:noAutofit/>
          </a:bodyPr>
          <a:lstStyle/>
          <a:p>
            <a:pPr lvl="0" defTabSz="488950">
              <a:lnSpc>
                <a:spcPct val="90000"/>
              </a:lnSpc>
              <a:spcBef>
                <a:spcPct val="0"/>
              </a:spcBef>
              <a:spcAft>
                <a:spcPct val="35000"/>
              </a:spcAft>
            </a:pPr>
            <a:r>
              <a:rPr lang="en-GB" sz="1100" dirty="0">
                <a:latin typeface="Tahoma" panose="020B0604030504040204" pitchFamily="34" charset="0"/>
                <a:ea typeface="Tahoma" panose="020B0604030504040204" pitchFamily="34" charset="0"/>
                <a:cs typeface="Tahoma" panose="020B0604030504040204" pitchFamily="34" charset="0"/>
              </a:rPr>
              <a:t>*See slide 24 for more detail on baseline metrics, key measures and the insights these give you</a:t>
            </a:r>
          </a:p>
        </p:txBody>
      </p:sp>
      <p:sp>
        <p:nvSpPr>
          <p:cNvPr id="6" name="Speech Bubble: Rectangle with Corners Rounded 5">
            <a:extLst>
              <a:ext uri="{FF2B5EF4-FFF2-40B4-BE49-F238E27FC236}">
                <a16:creationId xmlns:a16="http://schemas.microsoft.com/office/drawing/2014/main" id="{80155E69-522A-39BA-6231-ED6F68D59711}"/>
              </a:ext>
            </a:extLst>
          </p:cNvPr>
          <p:cNvSpPr/>
          <p:nvPr/>
        </p:nvSpPr>
        <p:spPr>
          <a:xfrm>
            <a:off x="3507684" y="6017503"/>
            <a:ext cx="7484994" cy="686996"/>
          </a:xfrm>
          <a:prstGeom prst="wedgeRoundRectCallout">
            <a:avLst>
              <a:gd name="adj1" fmla="val 17629"/>
              <a:gd name="adj2" fmla="val -79505"/>
              <a:gd name="adj3" fmla="val 16667"/>
            </a:avLst>
          </a:prstGeom>
          <a:solidFill>
            <a:srgbClr val="FFF438"/>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latin typeface="Tahoma" panose="020B0604030504040204" pitchFamily="34" charset="0"/>
                <a:ea typeface="Tahoma" panose="020B0604030504040204" pitchFamily="34" charset="0"/>
                <a:cs typeface="Tahoma" panose="020B0604030504040204" pitchFamily="34" charset="0"/>
              </a:rPr>
              <a:t>At this stage, we recommend defining the measures that will be useful to you and gathering baseline data ahead of your 2024 training delivery</a:t>
            </a:r>
          </a:p>
        </p:txBody>
      </p:sp>
      <p:pic>
        <p:nvPicPr>
          <p:cNvPr id="8" name="Picture 2" descr="The Chemistry Group | LinkedIn">
            <a:extLst>
              <a:ext uri="{FF2B5EF4-FFF2-40B4-BE49-F238E27FC236}">
                <a16:creationId xmlns:a16="http://schemas.microsoft.com/office/drawing/2014/main" id="{2830A37A-7092-0B3B-24F0-AA86CAEC836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779839" y="5951863"/>
            <a:ext cx="277801" cy="2778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30865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1"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11DE4DD4-1A80-AD61-A90B-B303B4BC39F1}"/>
              </a:ext>
            </a:extLst>
          </p:cNvPr>
          <p:cNvSpPr txBox="1"/>
          <p:nvPr/>
        </p:nvSpPr>
        <p:spPr>
          <a:xfrm>
            <a:off x="1933303" y="6139661"/>
            <a:ext cx="8325394" cy="584775"/>
          </a:xfrm>
          <a:prstGeom prst="rect">
            <a:avLst/>
          </a:prstGeom>
          <a:noFill/>
        </p:spPr>
        <p:txBody>
          <a:bodyPr wrap="square">
            <a:spAutoFit/>
          </a:bodyPr>
          <a:lstStyle/>
          <a:p>
            <a:pPr algn="ctr"/>
            <a:r>
              <a:rPr lang="en-GB" sz="1600" i="1" dirty="0">
                <a:latin typeface="Tahoma" panose="020B0604030504040204" pitchFamily="34" charset="0"/>
                <a:ea typeface="Tahoma" panose="020B0604030504040204" pitchFamily="34" charset="0"/>
                <a:cs typeface="Tahoma" panose="020B0604030504040204" pitchFamily="34" charset="0"/>
              </a:rPr>
              <a:t>See more detail on the Honeycomb approach to Training Curriculum Design: </a:t>
            </a:r>
            <a:r>
              <a:rPr lang="en-GB" sz="1600" i="1" dirty="0">
                <a:latin typeface="Tahoma" panose="020B0604030504040204" pitchFamily="34" charset="0"/>
                <a:ea typeface="Tahoma" panose="020B0604030504040204" pitchFamily="34" charset="0"/>
                <a:cs typeface="Tahoma" panose="020B0604030504040204" pitchFamily="34" charset="0"/>
                <a:hlinkClick r:id="rId2"/>
              </a:rPr>
              <a:t>https://app.klaxoon.com/join/YPGNWYT</a:t>
            </a:r>
            <a:r>
              <a:rPr lang="en-GB" sz="1600" i="1" dirty="0">
                <a:latin typeface="Tahoma" panose="020B0604030504040204" pitchFamily="34" charset="0"/>
                <a:ea typeface="Tahoma" panose="020B0604030504040204" pitchFamily="34" charset="0"/>
                <a:cs typeface="Tahoma" panose="020B0604030504040204" pitchFamily="34" charset="0"/>
              </a:rPr>
              <a:t> </a:t>
            </a:r>
          </a:p>
        </p:txBody>
      </p:sp>
      <p:sp>
        <p:nvSpPr>
          <p:cNvPr id="8" name="Title 4">
            <a:extLst>
              <a:ext uri="{FF2B5EF4-FFF2-40B4-BE49-F238E27FC236}">
                <a16:creationId xmlns:a16="http://schemas.microsoft.com/office/drawing/2014/main" id="{1355E1FA-4208-5D18-8D6C-1CCA2A52B95B}"/>
              </a:ext>
            </a:extLst>
          </p:cNvPr>
          <p:cNvSpPr>
            <a:spLocks noGrp="1"/>
          </p:cNvSpPr>
          <p:nvPr>
            <p:ph type="title"/>
          </p:nvPr>
        </p:nvSpPr>
        <p:spPr>
          <a:xfrm>
            <a:off x="480926" y="303783"/>
            <a:ext cx="11010858" cy="443198"/>
          </a:xfrm>
        </p:spPr>
        <p:txBody>
          <a:bodyPr vert="horz" lIns="91440" tIns="45720" rIns="91440" bIns="45720" rtlCol="0" anchor="ctr">
            <a:noAutofit/>
          </a:bodyPr>
          <a:lstStyle/>
          <a:p>
            <a:r>
              <a:rPr lang="en-GB" sz="2800" dirty="0">
                <a:latin typeface="Segoe UI"/>
                <a:ea typeface="+mj-ea"/>
                <a:cs typeface="Segoe UI"/>
              </a:rPr>
              <a:t>10: Training curriculum design is a complex set of decisions</a:t>
            </a:r>
          </a:p>
        </p:txBody>
      </p:sp>
      <p:sp>
        <p:nvSpPr>
          <p:cNvPr id="2" name="Arrow: Pentagon 1">
            <a:extLst>
              <a:ext uri="{FF2B5EF4-FFF2-40B4-BE49-F238E27FC236}">
                <a16:creationId xmlns:a16="http://schemas.microsoft.com/office/drawing/2014/main" id="{8840535D-1D69-3394-EC7F-842425BC9234}"/>
              </a:ext>
            </a:extLst>
          </p:cNvPr>
          <p:cNvSpPr/>
          <p:nvPr/>
        </p:nvSpPr>
        <p:spPr>
          <a:xfrm>
            <a:off x="506764" y="1351981"/>
            <a:ext cx="2266916" cy="746522"/>
          </a:xfrm>
          <a:prstGeom prst="homePlate">
            <a:avLst/>
          </a:prstGeom>
          <a:solidFill>
            <a:schemeClr val="tx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1" dirty="0">
                <a:latin typeface="Tahoma" panose="020B0604030504040204" pitchFamily="34" charset="0"/>
                <a:ea typeface="Tahoma" panose="020B0604030504040204" pitchFamily="34" charset="0"/>
                <a:cs typeface="Tahoma" panose="020B0604030504040204" pitchFamily="34" charset="0"/>
              </a:rPr>
              <a:t>Who?</a:t>
            </a:r>
          </a:p>
        </p:txBody>
      </p:sp>
      <p:sp>
        <p:nvSpPr>
          <p:cNvPr id="4" name="Arrow: Pentagon 3">
            <a:extLst>
              <a:ext uri="{FF2B5EF4-FFF2-40B4-BE49-F238E27FC236}">
                <a16:creationId xmlns:a16="http://schemas.microsoft.com/office/drawing/2014/main" id="{1FE3989F-A91C-F730-2637-7188CAC5767B}"/>
              </a:ext>
            </a:extLst>
          </p:cNvPr>
          <p:cNvSpPr/>
          <p:nvPr/>
        </p:nvSpPr>
        <p:spPr>
          <a:xfrm>
            <a:off x="506764" y="2498214"/>
            <a:ext cx="2266916" cy="746522"/>
          </a:xfrm>
          <a:prstGeom prst="homePlate">
            <a:avLst/>
          </a:prstGeom>
          <a:solidFill>
            <a:schemeClr val="tx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1" dirty="0">
                <a:latin typeface="Tahoma" panose="020B0604030504040204" pitchFamily="34" charset="0"/>
                <a:ea typeface="Tahoma" panose="020B0604030504040204" pitchFamily="34" charset="0"/>
                <a:cs typeface="Tahoma" panose="020B0604030504040204" pitchFamily="34" charset="0"/>
              </a:rPr>
              <a:t>What?</a:t>
            </a:r>
          </a:p>
        </p:txBody>
      </p:sp>
      <p:sp>
        <p:nvSpPr>
          <p:cNvPr id="5" name="Arrow: Pentagon 4">
            <a:extLst>
              <a:ext uri="{FF2B5EF4-FFF2-40B4-BE49-F238E27FC236}">
                <a16:creationId xmlns:a16="http://schemas.microsoft.com/office/drawing/2014/main" id="{D00DBAD9-342B-137A-6FEC-7E04687AB66F}"/>
              </a:ext>
            </a:extLst>
          </p:cNvPr>
          <p:cNvSpPr/>
          <p:nvPr/>
        </p:nvSpPr>
        <p:spPr>
          <a:xfrm>
            <a:off x="506764" y="4785598"/>
            <a:ext cx="2266916" cy="746522"/>
          </a:xfrm>
          <a:prstGeom prst="homePlate">
            <a:avLst/>
          </a:prstGeom>
          <a:solidFill>
            <a:schemeClr val="tx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1" dirty="0">
                <a:latin typeface="Tahoma" panose="020B0604030504040204" pitchFamily="34" charset="0"/>
                <a:ea typeface="Tahoma" panose="020B0604030504040204" pitchFamily="34" charset="0"/>
                <a:cs typeface="Tahoma" panose="020B0604030504040204" pitchFamily="34" charset="0"/>
              </a:rPr>
              <a:t>How?</a:t>
            </a:r>
          </a:p>
        </p:txBody>
      </p:sp>
      <p:sp>
        <p:nvSpPr>
          <p:cNvPr id="6" name="Arrow: Pentagon 5">
            <a:extLst>
              <a:ext uri="{FF2B5EF4-FFF2-40B4-BE49-F238E27FC236}">
                <a16:creationId xmlns:a16="http://schemas.microsoft.com/office/drawing/2014/main" id="{B267365E-D3FE-8B17-8284-9AF97DED41DA}"/>
              </a:ext>
            </a:extLst>
          </p:cNvPr>
          <p:cNvSpPr/>
          <p:nvPr/>
        </p:nvSpPr>
        <p:spPr>
          <a:xfrm>
            <a:off x="506764" y="3641906"/>
            <a:ext cx="2266916" cy="746522"/>
          </a:xfrm>
          <a:prstGeom prst="homePlate">
            <a:avLst/>
          </a:prstGeom>
          <a:solidFill>
            <a:schemeClr val="tx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1" dirty="0">
                <a:latin typeface="Tahoma" panose="020B0604030504040204" pitchFamily="34" charset="0"/>
                <a:ea typeface="Tahoma" panose="020B0604030504040204" pitchFamily="34" charset="0"/>
                <a:cs typeface="Tahoma" panose="020B0604030504040204" pitchFamily="34" charset="0"/>
              </a:rPr>
              <a:t>When?</a:t>
            </a:r>
          </a:p>
        </p:txBody>
      </p:sp>
      <p:sp>
        <p:nvSpPr>
          <p:cNvPr id="9" name="Rectangle 8">
            <a:extLst>
              <a:ext uri="{FF2B5EF4-FFF2-40B4-BE49-F238E27FC236}">
                <a16:creationId xmlns:a16="http://schemas.microsoft.com/office/drawing/2014/main" id="{F3BB3000-BB65-4E6A-DB7A-26E8926FAB97}"/>
              </a:ext>
            </a:extLst>
          </p:cNvPr>
          <p:cNvSpPr/>
          <p:nvPr/>
        </p:nvSpPr>
        <p:spPr>
          <a:xfrm>
            <a:off x="3121840" y="1349442"/>
            <a:ext cx="1951301" cy="746522"/>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i="1" dirty="0">
                <a:solidFill>
                  <a:schemeClr val="tx1"/>
                </a:solidFill>
                <a:latin typeface="Tahoma" panose="020B0604030504040204" pitchFamily="34" charset="0"/>
                <a:ea typeface="Tahoma" panose="020B0604030504040204" pitchFamily="34" charset="0"/>
                <a:cs typeface="Tahoma" panose="020B0604030504040204" pitchFamily="34" charset="0"/>
              </a:rPr>
              <a:t>Roles &amp; Seniority</a:t>
            </a:r>
          </a:p>
        </p:txBody>
      </p:sp>
      <p:sp>
        <p:nvSpPr>
          <p:cNvPr id="10" name="Rectangle 9">
            <a:extLst>
              <a:ext uri="{FF2B5EF4-FFF2-40B4-BE49-F238E27FC236}">
                <a16:creationId xmlns:a16="http://schemas.microsoft.com/office/drawing/2014/main" id="{DDC1E139-0923-B652-640C-7A09A92352BB}"/>
              </a:ext>
            </a:extLst>
          </p:cNvPr>
          <p:cNvSpPr/>
          <p:nvPr/>
        </p:nvSpPr>
        <p:spPr>
          <a:xfrm>
            <a:off x="3121840" y="2495674"/>
            <a:ext cx="1951301" cy="746522"/>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i="1" dirty="0">
                <a:solidFill>
                  <a:schemeClr val="tx1"/>
                </a:solidFill>
                <a:latin typeface="Tahoma" panose="020B0604030504040204" pitchFamily="34" charset="0"/>
                <a:ea typeface="Tahoma" panose="020B0604030504040204" pitchFamily="34" charset="0"/>
                <a:cs typeface="Tahoma" panose="020B0604030504040204" pitchFamily="34" charset="0"/>
              </a:rPr>
              <a:t>Skills &amp; Behaviours</a:t>
            </a:r>
          </a:p>
        </p:txBody>
      </p:sp>
      <p:sp>
        <p:nvSpPr>
          <p:cNvPr id="15" name="Rectangle 14">
            <a:extLst>
              <a:ext uri="{FF2B5EF4-FFF2-40B4-BE49-F238E27FC236}">
                <a16:creationId xmlns:a16="http://schemas.microsoft.com/office/drawing/2014/main" id="{CEA4F3FC-9ABF-E392-5328-BF744BEAD0E2}"/>
              </a:ext>
            </a:extLst>
          </p:cNvPr>
          <p:cNvSpPr/>
          <p:nvPr/>
        </p:nvSpPr>
        <p:spPr>
          <a:xfrm>
            <a:off x="3121840" y="4785598"/>
            <a:ext cx="1951301" cy="746522"/>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i="1" dirty="0">
                <a:solidFill>
                  <a:schemeClr val="tx1"/>
                </a:solidFill>
                <a:latin typeface="Tahoma" panose="020B0604030504040204" pitchFamily="34" charset="0"/>
                <a:ea typeface="Tahoma" panose="020B0604030504040204" pitchFamily="34" charset="0"/>
                <a:cs typeface="Tahoma" panose="020B0604030504040204" pitchFamily="34" charset="0"/>
              </a:rPr>
              <a:t>Delivery </a:t>
            </a:r>
            <a:br>
              <a:rPr lang="en-GB" sz="1600" i="1" dirty="0">
                <a:solidFill>
                  <a:schemeClr val="tx1"/>
                </a:solidFill>
                <a:latin typeface="Tahoma" panose="020B0604030504040204" pitchFamily="34" charset="0"/>
                <a:ea typeface="Tahoma" panose="020B0604030504040204" pitchFamily="34" charset="0"/>
                <a:cs typeface="Tahoma" panose="020B0604030504040204" pitchFamily="34" charset="0"/>
              </a:rPr>
            </a:br>
            <a:r>
              <a:rPr lang="en-GB" sz="1600" i="1" dirty="0">
                <a:solidFill>
                  <a:schemeClr val="tx1"/>
                </a:solidFill>
                <a:latin typeface="Tahoma" panose="020B0604030504040204" pitchFamily="34" charset="0"/>
                <a:ea typeface="Tahoma" panose="020B0604030504040204" pitchFamily="34" charset="0"/>
                <a:cs typeface="Tahoma" panose="020B0604030504040204" pitchFamily="34" charset="0"/>
              </a:rPr>
              <a:t>Types</a:t>
            </a:r>
          </a:p>
        </p:txBody>
      </p:sp>
      <p:sp>
        <p:nvSpPr>
          <p:cNvPr id="16" name="Rectangle 15">
            <a:extLst>
              <a:ext uri="{FF2B5EF4-FFF2-40B4-BE49-F238E27FC236}">
                <a16:creationId xmlns:a16="http://schemas.microsoft.com/office/drawing/2014/main" id="{ECC09ACE-FC11-1B81-5212-F7A361534C78}"/>
              </a:ext>
            </a:extLst>
          </p:cNvPr>
          <p:cNvSpPr/>
          <p:nvPr/>
        </p:nvSpPr>
        <p:spPr>
          <a:xfrm>
            <a:off x="5204986" y="4785598"/>
            <a:ext cx="1951301" cy="746522"/>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i="1" dirty="0">
                <a:solidFill>
                  <a:schemeClr val="tx1"/>
                </a:solidFill>
                <a:latin typeface="Tahoma" panose="020B0604030504040204" pitchFamily="34" charset="0"/>
                <a:ea typeface="Tahoma" panose="020B0604030504040204" pitchFamily="34" charset="0"/>
                <a:cs typeface="Tahoma" panose="020B0604030504040204" pitchFamily="34" charset="0"/>
              </a:rPr>
              <a:t>Instructional Strategies</a:t>
            </a:r>
          </a:p>
        </p:txBody>
      </p:sp>
      <p:sp>
        <p:nvSpPr>
          <p:cNvPr id="17" name="Rectangle 16">
            <a:extLst>
              <a:ext uri="{FF2B5EF4-FFF2-40B4-BE49-F238E27FC236}">
                <a16:creationId xmlns:a16="http://schemas.microsoft.com/office/drawing/2014/main" id="{556849AA-1356-DAC5-4B26-D46C2A5D9776}"/>
              </a:ext>
            </a:extLst>
          </p:cNvPr>
          <p:cNvSpPr/>
          <p:nvPr/>
        </p:nvSpPr>
        <p:spPr>
          <a:xfrm>
            <a:off x="7288132" y="4785598"/>
            <a:ext cx="1951301" cy="746522"/>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i="1" dirty="0">
                <a:solidFill>
                  <a:schemeClr val="tx1"/>
                </a:solidFill>
                <a:latin typeface="Tahoma" panose="020B0604030504040204" pitchFamily="34" charset="0"/>
                <a:ea typeface="Tahoma" panose="020B0604030504040204" pitchFamily="34" charset="0"/>
                <a:cs typeface="Tahoma" panose="020B0604030504040204" pitchFamily="34" charset="0"/>
              </a:rPr>
              <a:t>Content Formats</a:t>
            </a:r>
          </a:p>
        </p:txBody>
      </p:sp>
      <p:sp>
        <p:nvSpPr>
          <p:cNvPr id="18" name="Rectangle 17">
            <a:extLst>
              <a:ext uri="{FF2B5EF4-FFF2-40B4-BE49-F238E27FC236}">
                <a16:creationId xmlns:a16="http://schemas.microsoft.com/office/drawing/2014/main" id="{CE9A606A-B415-732A-81FB-4B58B2ABD63E}"/>
              </a:ext>
            </a:extLst>
          </p:cNvPr>
          <p:cNvSpPr/>
          <p:nvPr/>
        </p:nvSpPr>
        <p:spPr>
          <a:xfrm>
            <a:off x="9371279" y="4785598"/>
            <a:ext cx="1951301" cy="746522"/>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i="1" dirty="0">
                <a:solidFill>
                  <a:schemeClr val="tx1"/>
                </a:solidFill>
                <a:latin typeface="Tahoma" panose="020B0604030504040204" pitchFamily="34" charset="0"/>
                <a:ea typeface="Tahoma" panose="020B0604030504040204" pitchFamily="34" charset="0"/>
                <a:cs typeface="Tahoma" panose="020B0604030504040204" pitchFamily="34" charset="0"/>
              </a:rPr>
              <a:t>Trainers</a:t>
            </a:r>
          </a:p>
        </p:txBody>
      </p:sp>
      <p:sp>
        <p:nvSpPr>
          <p:cNvPr id="19" name="Rectangle 18">
            <a:extLst>
              <a:ext uri="{FF2B5EF4-FFF2-40B4-BE49-F238E27FC236}">
                <a16:creationId xmlns:a16="http://schemas.microsoft.com/office/drawing/2014/main" id="{01D93B38-59FC-0849-0262-C92C87DFF83D}"/>
              </a:ext>
            </a:extLst>
          </p:cNvPr>
          <p:cNvSpPr/>
          <p:nvPr/>
        </p:nvSpPr>
        <p:spPr>
          <a:xfrm>
            <a:off x="3121840" y="3641906"/>
            <a:ext cx="1951301" cy="746522"/>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i="1" dirty="0">
                <a:solidFill>
                  <a:schemeClr val="tx1"/>
                </a:solidFill>
                <a:latin typeface="Tahoma" panose="020B0604030504040204" pitchFamily="34" charset="0"/>
                <a:ea typeface="Tahoma" panose="020B0604030504040204" pitchFamily="34" charset="0"/>
                <a:cs typeface="Tahoma" panose="020B0604030504040204" pitchFamily="34" charset="0"/>
              </a:rPr>
              <a:t>Career</a:t>
            </a:r>
          </a:p>
        </p:txBody>
      </p:sp>
      <p:sp>
        <p:nvSpPr>
          <p:cNvPr id="20" name="Rectangle 19">
            <a:extLst>
              <a:ext uri="{FF2B5EF4-FFF2-40B4-BE49-F238E27FC236}">
                <a16:creationId xmlns:a16="http://schemas.microsoft.com/office/drawing/2014/main" id="{B72E4CF2-FA94-2C06-CD4B-E3D91416AABA}"/>
              </a:ext>
            </a:extLst>
          </p:cNvPr>
          <p:cNvSpPr/>
          <p:nvPr/>
        </p:nvSpPr>
        <p:spPr>
          <a:xfrm>
            <a:off x="5204986" y="3641906"/>
            <a:ext cx="1951301" cy="746522"/>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i="1" dirty="0">
                <a:solidFill>
                  <a:schemeClr val="tx1"/>
                </a:solidFill>
                <a:latin typeface="Tahoma" panose="020B0604030504040204" pitchFamily="34" charset="0"/>
                <a:ea typeface="Tahoma" panose="020B0604030504040204" pitchFamily="34" charset="0"/>
                <a:cs typeface="Tahoma" panose="020B0604030504040204" pitchFamily="34" charset="0"/>
              </a:rPr>
              <a:t>Calendar</a:t>
            </a:r>
          </a:p>
        </p:txBody>
      </p:sp>
      <p:sp>
        <p:nvSpPr>
          <p:cNvPr id="21" name="Rectangle 20">
            <a:extLst>
              <a:ext uri="{FF2B5EF4-FFF2-40B4-BE49-F238E27FC236}">
                <a16:creationId xmlns:a16="http://schemas.microsoft.com/office/drawing/2014/main" id="{79F11E50-A8A3-FCAA-910C-CD47EB19D742}"/>
              </a:ext>
            </a:extLst>
          </p:cNvPr>
          <p:cNvSpPr/>
          <p:nvPr/>
        </p:nvSpPr>
        <p:spPr>
          <a:xfrm>
            <a:off x="7288132" y="3641906"/>
            <a:ext cx="1951301" cy="746522"/>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i="1" dirty="0">
                <a:solidFill>
                  <a:schemeClr val="tx1"/>
                </a:solidFill>
                <a:latin typeface="Tahoma" panose="020B0604030504040204" pitchFamily="34" charset="0"/>
                <a:ea typeface="Tahoma" panose="020B0604030504040204" pitchFamily="34" charset="0"/>
                <a:cs typeface="Tahoma" panose="020B0604030504040204" pitchFamily="34" charset="0"/>
              </a:rPr>
              <a:t>Capacity</a:t>
            </a:r>
          </a:p>
        </p:txBody>
      </p:sp>
    </p:spTree>
    <p:extLst>
      <p:ext uri="{BB962C8B-B14F-4D97-AF65-F5344CB8AC3E}">
        <p14:creationId xmlns:p14="http://schemas.microsoft.com/office/powerpoint/2010/main" val="27101412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0CE7CF-8526-4C5D-BE7D-CB066BD21947}"/>
              </a:ext>
            </a:extLst>
          </p:cNvPr>
          <p:cNvSpPr>
            <a:spLocks noGrp="1"/>
          </p:cNvSpPr>
          <p:nvPr>
            <p:ph type="title"/>
          </p:nvPr>
        </p:nvSpPr>
        <p:spPr>
          <a:xfrm>
            <a:off x="503444" y="282051"/>
            <a:ext cx="11444097" cy="443198"/>
          </a:xfrm>
        </p:spPr>
        <p:txBody>
          <a:bodyPr vert="horz" lIns="91440" tIns="45720" rIns="91440" bIns="45720" rtlCol="0" anchor="ctr">
            <a:noAutofit/>
          </a:bodyPr>
          <a:lstStyle/>
          <a:p>
            <a:pPr defTabSz="715963"/>
            <a:r>
              <a:rPr lang="en-GB" sz="2800" dirty="0">
                <a:latin typeface="Segoe UI"/>
                <a:ea typeface="+mj-ea"/>
                <a:cs typeface="Segoe UI"/>
              </a:rPr>
              <a:t>		Detailed skill expectations drive clarity &amp; consistency</a:t>
            </a:r>
          </a:p>
        </p:txBody>
      </p:sp>
      <p:sp>
        <p:nvSpPr>
          <p:cNvPr id="48" name="Google Shape;113;p2">
            <a:extLst>
              <a:ext uri="{FF2B5EF4-FFF2-40B4-BE49-F238E27FC236}">
                <a16:creationId xmlns:a16="http://schemas.microsoft.com/office/drawing/2014/main" id="{F6C35F03-1ADE-4609-BE1A-CA869673E853}"/>
              </a:ext>
            </a:extLst>
          </p:cNvPr>
          <p:cNvSpPr txBox="1">
            <a:spLocks/>
          </p:cNvSpPr>
          <p:nvPr/>
        </p:nvSpPr>
        <p:spPr>
          <a:xfrm>
            <a:off x="11633538" y="6613022"/>
            <a:ext cx="163804" cy="184666"/>
          </a:xfrm>
          <a:prstGeom prst="rect">
            <a:avLst/>
          </a:prstGeom>
          <a:noFill/>
          <a:ln>
            <a:noFill/>
          </a:ln>
        </p:spPr>
        <p:txBody>
          <a:bodyPr spcFirstLastPara="1" wrap="square" lIns="0" tIns="0" rIns="0" bIns="0" anchor="t" anchorCtr="0">
            <a:sp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687617"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1375235"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2062852"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275047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3438086" algn="l" defTabSz="1375235" rtl="0" eaLnBrk="1" latinLnBrk="0" hangingPunct="1">
              <a:defRPr kern="1200">
                <a:solidFill>
                  <a:schemeClr val="tx1"/>
                </a:solidFill>
                <a:latin typeface="Calibri" panose="020F0502020204030204" pitchFamily="34" charset="0"/>
                <a:ea typeface="+mn-ea"/>
                <a:cs typeface="+mn-cs"/>
              </a:defRPr>
            </a:lvl6pPr>
            <a:lvl7pPr marL="4125703" algn="l" defTabSz="1375235" rtl="0" eaLnBrk="1" latinLnBrk="0" hangingPunct="1">
              <a:defRPr kern="1200">
                <a:solidFill>
                  <a:schemeClr val="tx1"/>
                </a:solidFill>
                <a:latin typeface="Calibri" panose="020F0502020204030204" pitchFamily="34" charset="0"/>
                <a:ea typeface="+mn-ea"/>
                <a:cs typeface="+mn-cs"/>
              </a:defRPr>
            </a:lvl7pPr>
            <a:lvl8pPr marL="4813320" algn="l" defTabSz="1375235" rtl="0" eaLnBrk="1" latinLnBrk="0" hangingPunct="1">
              <a:defRPr kern="1200">
                <a:solidFill>
                  <a:schemeClr val="tx1"/>
                </a:solidFill>
                <a:latin typeface="Calibri" panose="020F0502020204030204" pitchFamily="34" charset="0"/>
                <a:ea typeface="+mn-ea"/>
                <a:cs typeface="+mn-cs"/>
              </a:defRPr>
            </a:lvl8pPr>
            <a:lvl9pPr marL="5500937" algn="l" defTabSz="1375235" rtl="0" eaLnBrk="1" latinLnBrk="0" hangingPunct="1">
              <a:defRPr kern="1200">
                <a:solidFill>
                  <a:schemeClr val="tx1"/>
                </a:solidFill>
                <a:latin typeface="Calibri" panose="020F0502020204030204" pitchFamily="34" charset="0"/>
                <a:ea typeface="+mn-ea"/>
                <a:cs typeface="+mn-cs"/>
              </a:defRPr>
            </a:lvl9pPr>
          </a:lstStyle>
          <a:p>
            <a:pPr>
              <a:spcAft>
                <a:spcPts val="0"/>
              </a:spcAft>
            </a:pPr>
            <a:fld id="{00000000-1234-1234-1234-123412341234}" type="slidenum">
              <a:rPr lang="en-GB" sz="1200"/>
              <a:pPr>
                <a:spcAft>
                  <a:spcPts val="0"/>
                </a:spcAft>
              </a:pPr>
              <a:t>15</a:t>
            </a:fld>
            <a:endParaRPr lang="en-GB" sz="1200"/>
          </a:p>
        </p:txBody>
      </p:sp>
      <p:sp>
        <p:nvSpPr>
          <p:cNvPr id="41" name="Google Shape;197;p27">
            <a:extLst>
              <a:ext uri="{FF2B5EF4-FFF2-40B4-BE49-F238E27FC236}">
                <a16:creationId xmlns:a16="http://schemas.microsoft.com/office/drawing/2014/main" id="{A9B9FBCA-45D0-4DBA-9F11-A0AD591C90C3}"/>
              </a:ext>
            </a:extLst>
          </p:cNvPr>
          <p:cNvSpPr/>
          <p:nvPr/>
        </p:nvSpPr>
        <p:spPr>
          <a:xfrm>
            <a:off x="8998252" y="952161"/>
            <a:ext cx="2030750" cy="309724"/>
          </a:xfrm>
          <a:prstGeom prst="rect">
            <a:avLst/>
          </a:prstGeom>
          <a:noFill/>
          <a:ln>
            <a:noFill/>
          </a:ln>
        </p:spPr>
        <p:txBody>
          <a:bodyPr spcFirstLastPara="1" wrap="square" lIns="0" tIns="36000" rIns="0" bIns="36000" anchor="ctr" anchorCtr="0">
            <a:noAutofit/>
          </a:bodyPr>
          <a:lstStyle/>
          <a:p>
            <a:pPr algn="ctr"/>
            <a:r>
              <a:rPr lang="en-US" sz="1200" b="1" i="1" dirty="0">
                <a:latin typeface="Tahoma" panose="020B0604030504040204" pitchFamily="34" charset="0"/>
                <a:ea typeface="Tahoma" panose="020B0604030504040204" pitchFamily="34" charset="0"/>
                <a:cs typeface="Tahoma" panose="020B0604030504040204" pitchFamily="34" charset="0"/>
                <a:sym typeface="Arial"/>
              </a:rPr>
              <a:t>Illustrative Example</a:t>
            </a:r>
            <a:endParaRPr b="1" i="1" dirty="0">
              <a:latin typeface="Tahoma" panose="020B0604030504040204" pitchFamily="34" charset="0"/>
              <a:ea typeface="Tahoma" panose="020B0604030504040204" pitchFamily="34" charset="0"/>
              <a:cs typeface="Tahoma" panose="020B0604030504040204" pitchFamily="34" charset="0"/>
            </a:endParaRPr>
          </a:p>
        </p:txBody>
      </p:sp>
      <p:grpSp>
        <p:nvGrpSpPr>
          <p:cNvPr id="8" name="Group 7">
            <a:extLst>
              <a:ext uri="{FF2B5EF4-FFF2-40B4-BE49-F238E27FC236}">
                <a16:creationId xmlns:a16="http://schemas.microsoft.com/office/drawing/2014/main" id="{A0ECEB9F-CE29-A356-0830-FAFB70768971}"/>
              </a:ext>
            </a:extLst>
          </p:cNvPr>
          <p:cNvGrpSpPr/>
          <p:nvPr/>
        </p:nvGrpSpPr>
        <p:grpSpPr>
          <a:xfrm>
            <a:off x="411730" y="1212528"/>
            <a:ext cx="7297986" cy="5047939"/>
            <a:chOff x="1552553" y="1212528"/>
            <a:chExt cx="7297986" cy="5047939"/>
          </a:xfrm>
        </p:grpSpPr>
        <p:grpSp>
          <p:nvGrpSpPr>
            <p:cNvPr id="51" name="Group 50">
              <a:extLst>
                <a:ext uri="{FF2B5EF4-FFF2-40B4-BE49-F238E27FC236}">
                  <a16:creationId xmlns:a16="http://schemas.microsoft.com/office/drawing/2014/main" id="{96EEE190-EF72-4B04-866E-D468216249D4}"/>
                </a:ext>
              </a:extLst>
            </p:cNvPr>
            <p:cNvGrpSpPr/>
            <p:nvPr/>
          </p:nvGrpSpPr>
          <p:grpSpPr>
            <a:xfrm rot="1800000">
              <a:off x="2636890" y="1212528"/>
              <a:ext cx="5047937" cy="5047938"/>
              <a:chOff x="867873" y="1505119"/>
              <a:chExt cx="3600000" cy="3600000"/>
            </a:xfrm>
          </p:grpSpPr>
          <p:cxnSp>
            <p:nvCxnSpPr>
              <p:cNvPr id="52" name="Straight Connector 51">
                <a:extLst>
                  <a:ext uri="{FF2B5EF4-FFF2-40B4-BE49-F238E27FC236}">
                    <a16:creationId xmlns:a16="http://schemas.microsoft.com/office/drawing/2014/main" id="{76117384-5A2F-4503-8E89-2BAB1E1DAC88}"/>
                  </a:ext>
                </a:extLst>
              </p:cNvPr>
              <p:cNvCxnSpPr/>
              <p:nvPr/>
            </p:nvCxnSpPr>
            <p:spPr>
              <a:xfrm>
                <a:off x="2667873" y="1505119"/>
                <a:ext cx="0" cy="360000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01D3CA79-2200-47F5-954B-6CF4676BE574}"/>
                  </a:ext>
                </a:extLst>
              </p:cNvPr>
              <p:cNvCxnSpPr>
                <a:cxnSpLocks/>
              </p:cNvCxnSpPr>
              <p:nvPr/>
            </p:nvCxnSpPr>
            <p:spPr>
              <a:xfrm flipH="1">
                <a:off x="867873" y="3305119"/>
                <a:ext cx="3600000"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4" name="Group 53">
              <a:extLst>
                <a:ext uri="{FF2B5EF4-FFF2-40B4-BE49-F238E27FC236}">
                  <a16:creationId xmlns:a16="http://schemas.microsoft.com/office/drawing/2014/main" id="{6373265B-F302-4D17-93D2-19AF16E24CF0}"/>
                </a:ext>
              </a:extLst>
            </p:cNvPr>
            <p:cNvGrpSpPr/>
            <p:nvPr/>
          </p:nvGrpSpPr>
          <p:grpSpPr>
            <a:xfrm rot="3600000">
              <a:off x="2636889" y="1212529"/>
              <a:ext cx="5047938" cy="5047937"/>
              <a:chOff x="867873" y="1505119"/>
              <a:chExt cx="3600000" cy="3600000"/>
            </a:xfrm>
          </p:grpSpPr>
          <p:cxnSp>
            <p:nvCxnSpPr>
              <p:cNvPr id="55" name="Straight Connector 54">
                <a:extLst>
                  <a:ext uri="{FF2B5EF4-FFF2-40B4-BE49-F238E27FC236}">
                    <a16:creationId xmlns:a16="http://schemas.microsoft.com/office/drawing/2014/main" id="{5FC4B304-ACCF-4E9C-9ECA-3E09B07069BE}"/>
                  </a:ext>
                </a:extLst>
              </p:cNvPr>
              <p:cNvCxnSpPr/>
              <p:nvPr/>
            </p:nvCxnSpPr>
            <p:spPr>
              <a:xfrm>
                <a:off x="2667873" y="1505119"/>
                <a:ext cx="0" cy="360000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2C9AB347-F252-40A9-9E3B-BDC769DE4448}"/>
                  </a:ext>
                </a:extLst>
              </p:cNvPr>
              <p:cNvCxnSpPr>
                <a:cxnSpLocks/>
              </p:cNvCxnSpPr>
              <p:nvPr/>
            </p:nvCxnSpPr>
            <p:spPr>
              <a:xfrm flipH="1">
                <a:off x="867873" y="3305119"/>
                <a:ext cx="3600000"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0F6D7955-21C1-14D3-0F47-953D464BA871}"/>
                </a:ext>
              </a:extLst>
            </p:cNvPr>
            <p:cNvGrpSpPr/>
            <p:nvPr/>
          </p:nvGrpSpPr>
          <p:grpSpPr>
            <a:xfrm>
              <a:off x="1552553" y="1212528"/>
              <a:ext cx="7297986" cy="5047938"/>
              <a:chOff x="1552553" y="1212528"/>
              <a:chExt cx="7297986" cy="5047938"/>
            </a:xfrm>
          </p:grpSpPr>
          <p:sp>
            <p:nvSpPr>
              <p:cNvPr id="39" name="Oval 38">
                <a:extLst>
                  <a:ext uri="{FF2B5EF4-FFF2-40B4-BE49-F238E27FC236}">
                    <a16:creationId xmlns:a16="http://schemas.microsoft.com/office/drawing/2014/main" id="{C9264954-EACC-4946-8196-D044F26B20DD}"/>
                  </a:ext>
                </a:extLst>
              </p:cNvPr>
              <p:cNvSpPr/>
              <p:nvPr/>
            </p:nvSpPr>
            <p:spPr>
              <a:xfrm>
                <a:off x="3267882" y="1843520"/>
                <a:ext cx="3785953" cy="3785954"/>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err="1">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38" name="Oval 37">
                <a:extLst>
                  <a:ext uri="{FF2B5EF4-FFF2-40B4-BE49-F238E27FC236}">
                    <a16:creationId xmlns:a16="http://schemas.microsoft.com/office/drawing/2014/main" id="{7FB36B26-2A82-4018-94CD-556C6368EF04}"/>
                  </a:ext>
                </a:extLst>
              </p:cNvPr>
              <p:cNvSpPr/>
              <p:nvPr/>
            </p:nvSpPr>
            <p:spPr>
              <a:xfrm>
                <a:off x="3772676" y="2348314"/>
                <a:ext cx="2776365" cy="2776366"/>
              </a:xfrm>
              <a:prstGeom prst="ellipse">
                <a:avLst/>
              </a:prstGeom>
              <a:solidFill>
                <a:srgbClr val="C3C3C3"/>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err="1">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37" name="Oval 36">
                <a:extLst>
                  <a:ext uri="{FF2B5EF4-FFF2-40B4-BE49-F238E27FC236}">
                    <a16:creationId xmlns:a16="http://schemas.microsoft.com/office/drawing/2014/main" id="{285E4380-D3E9-4E92-A525-8CF7210B704A}"/>
                  </a:ext>
                </a:extLst>
              </p:cNvPr>
              <p:cNvSpPr/>
              <p:nvPr/>
            </p:nvSpPr>
            <p:spPr>
              <a:xfrm>
                <a:off x="4277469" y="2853108"/>
                <a:ext cx="1766778" cy="1766778"/>
              </a:xfrm>
              <a:prstGeom prst="ellipse">
                <a:avLst/>
              </a:prstGeom>
              <a:solidFill>
                <a:schemeClr val="accent5"/>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err="1">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58" name="TextBox 57">
                <a:extLst>
                  <a:ext uri="{FF2B5EF4-FFF2-40B4-BE49-F238E27FC236}">
                    <a16:creationId xmlns:a16="http://schemas.microsoft.com/office/drawing/2014/main" id="{8D2D4EE9-A041-47F6-B951-B19566C2E09B}"/>
                  </a:ext>
                </a:extLst>
              </p:cNvPr>
              <p:cNvSpPr txBox="1"/>
              <p:nvPr/>
            </p:nvSpPr>
            <p:spPr>
              <a:xfrm>
                <a:off x="7091403" y="1327467"/>
                <a:ext cx="1759136" cy="295198"/>
              </a:xfrm>
              <a:prstGeom prst="rect">
                <a:avLst/>
              </a:prstGeom>
              <a:noFill/>
            </p:spPr>
            <p:txBody>
              <a:bodyPr vert="horz" wrap="none" lIns="36000" tIns="36000" rIns="36000" bIns="36000" rtlCol="0">
                <a:noAutofit/>
              </a:bodyPr>
              <a:lstStyle/>
              <a:p>
                <a:pPr algn="ctr">
                  <a:spcBef>
                    <a:spcPts val="600"/>
                  </a:spcBef>
                  <a:buClr>
                    <a:srgbClr val="002060"/>
                  </a:buClr>
                </a:pPr>
                <a:r>
                  <a:rPr lang="en-GB" sz="1200" b="1">
                    <a:latin typeface="Tahoma" panose="020B0604030504040204" pitchFamily="34" charset="0"/>
                    <a:ea typeface="Tahoma" panose="020B0604030504040204" pitchFamily="34" charset="0"/>
                    <a:cs typeface="Tahoma" panose="020B0604030504040204" pitchFamily="34" charset="0"/>
                  </a:rPr>
                  <a:t>Delivering</a:t>
                </a:r>
                <a:br>
                  <a:rPr lang="en-GB" sz="1200" b="1">
                    <a:latin typeface="Tahoma" panose="020B0604030504040204" pitchFamily="34" charset="0"/>
                    <a:ea typeface="Tahoma" panose="020B0604030504040204" pitchFamily="34" charset="0"/>
                    <a:cs typeface="Tahoma" panose="020B0604030504040204" pitchFamily="34" charset="0"/>
                  </a:rPr>
                </a:br>
                <a:r>
                  <a:rPr lang="en-GB" sz="1200" b="1">
                    <a:latin typeface="Tahoma" panose="020B0604030504040204" pitchFamily="34" charset="0"/>
                    <a:ea typeface="Tahoma" panose="020B0604030504040204" pitchFamily="34" charset="0"/>
                    <a:cs typeface="Tahoma" panose="020B0604030504040204" pitchFamily="34" charset="0"/>
                  </a:rPr>
                  <a:t>Client Value</a:t>
                </a:r>
              </a:p>
            </p:txBody>
          </p:sp>
          <p:sp>
            <p:nvSpPr>
              <p:cNvPr id="59" name="TextBox 58">
                <a:extLst>
                  <a:ext uri="{FF2B5EF4-FFF2-40B4-BE49-F238E27FC236}">
                    <a16:creationId xmlns:a16="http://schemas.microsoft.com/office/drawing/2014/main" id="{79D3F7AA-DFA6-4374-9D8C-1285E581D55A}"/>
                  </a:ext>
                </a:extLst>
              </p:cNvPr>
              <p:cNvSpPr txBox="1"/>
              <p:nvPr/>
            </p:nvSpPr>
            <p:spPr>
              <a:xfrm>
                <a:off x="5287058" y="1378806"/>
                <a:ext cx="1004873" cy="295198"/>
              </a:xfrm>
              <a:prstGeom prst="rect">
                <a:avLst/>
              </a:prstGeom>
              <a:noFill/>
            </p:spPr>
            <p:txBody>
              <a:bodyPr vert="horz" wrap="none" lIns="36000" tIns="36000" rIns="36000" bIns="36000" rtlCol="0">
                <a:noAutofit/>
              </a:bodyPr>
              <a:lstStyle/>
              <a:p>
                <a:pPr algn="ctr">
                  <a:spcBef>
                    <a:spcPts val="600"/>
                  </a:spcBef>
                  <a:buClr>
                    <a:srgbClr val="002060"/>
                  </a:buClr>
                </a:pPr>
                <a:r>
                  <a:rPr lang="en-GB" sz="1050">
                    <a:latin typeface="Tahoma" panose="020B0604030504040204" pitchFamily="34" charset="0"/>
                    <a:ea typeface="Tahoma" panose="020B0604030504040204" pitchFamily="34" charset="0"/>
                    <a:cs typeface="Tahoma" panose="020B0604030504040204" pitchFamily="34" charset="0"/>
                  </a:rPr>
                  <a:t>Project</a:t>
                </a:r>
                <a:br>
                  <a:rPr lang="en-GB" sz="1050">
                    <a:latin typeface="Tahoma" panose="020B0604030504040204" pitchFamily="34" charset="0"/>
                    <a:ea typeface="Tahoma" panose="020B0604030504040204" pitchFamily="34" charset="0"/>
                    <a:cs typeface="Tahoma" panose="020B0604030504040204" pitchFamily="34" charset="0"/>
                  </a:rPr>
                </a:br>
                <a:r>
                  <a:rPr lang="en-GB" sz="1050">
                    <a:latin typeface="Tahoma" panose="020B0604030504040204" pitchFamily="34" charset="0"/>
                    <a:ea typeface="Tahoma" panose="020B0604030504040204" pitchFamily="34" charset="0"/>
                    <a:cs typeface="Tahoma" panose="020B0604030504040204" pitchFamily="34" charset="0"/>
                  </a:rPr>
                  <a:t>Management</a:t>
                </a:r>
              </a:p>
            </p:txBody>
          </p:sp>
          <p:sp>
            <p:nvSpPr>
              <p:cNvPr id="60" name="TextBox 59">
                <a:extLst>
                  <a:ext uri="{FF2B5EF4-FFF2-40B4-BE49-F238E27FC236}">
                    <a16:creationId xmlns:a16="http://schemas.microsoft.com/office/drawing/2014/main" id="{083335EC-5A47-442D-ACF5-FB5702411F97}"/>
                  </a:ext>
                </a:extLst>
              </p:cNvPr>
              <p:cNvSpPr txBox="1"/>
              <p:nvPr/>
            </p:nvSpPr>
            <p:spPr>
              <a:xfrm>
                <a:off x="6341807" y="1880819"/>
                <a:ext cx="1004873" cy="295198"/>
              </a:xfrm>
              <a:prstGeom prst="rect">
                <a:avLst/>
              </a:prstGeom>
              <a:noFill/>
            </p:spPr>
            <p:txBody>
              <a:bodyPr vert="horz" wrap="none" lIns="36000" tIns="36000" rIns="36000" bIns="36000" rtlCol="0">
                <a:noAutofit/>
              </a:bodyPr>
              <a:lstStyle/>
              <a:p>
                <a:pPr algn="ctr">
                  <a:spcBef>
                    <a:spcPts val="600"/>
                  </a:spcBef>
                  <a:buClr>
                    <a:srgbClr val="002060"/>
                  </a:buClr>
                </a:pPr>
                <a:r>
                  <a:rPr lang="en-GB" sz="1050">
                    <a:latin typeface="Tahoma" panose="020B0604030504040204" pitchFamily="34" charset="0"/>
                    <a:ea typeface="Tahoma" panose="020B0604030504040204" pitchFamily="34" charset="0"/>
                    <a:cs typeface="Tahoma" panose="020B0604030504040204" pitchFamily="34" charset="0"/>
                  </a:rPr>
                  <a:t>Complex</a:t>
                </a:r>
                <a:br>
                  <a:rPr lang="en-GB" sz="1050">
                    <a:latin typeface="Tahoma" panose="020B0604030504040204" pitchFamily="34" charset="0"/>
                    <a:ea typeface="Tahoma" panose="020B0604030504040204" pitchFamily="34" charset="0"/>
                    <a:cs typeface="Tahoma" panose="020B0604030504040204" pitchFamily="34" charset="0"/>
                  </a:rPr>
                </a:br>
                <a:r>
                  <a:rPr lang="en-GB" sz="1050">
                    <a:latin typeface="Tahoma" panose="020B0604030504040204" pitchFamily="34" charset="0"/>
                    <a:ea typeface="Tahoma" panose="020B0604030504040204" pitchFamily="34" charset="0"/>
                    <a:cs typeface="Tahoma" panose="020B0604030504040204" pitchFamily="34" charset="0"/>
                  </a:rPr>
                  <a:t>Data Problems</a:t>
                </a:r>
              </a:p>
            </p:txBody>
          </p:sp>
          <p:sp>
            <p:nvSpPr>
              <p:cNvPr id="61" name="TextBox 60">
                <a:extLst>
                  <a:ext uri="{FF2B5EF4-FFF2-40B4-BE49-F238E27FC236}">
                    <a16:creationId xmlns:a16="http://schemas.microsoft.com/office/drawing/2014/main" id="{56793F4C-C047-4EFC-9C3E-10B27088F9BE}"/>
                  </a:ext>
                </a:extLst>
              </p:cNvPr>
              <p:cNvSpPr txBox="1"/>
              <p:nvPr/>
            </p:nvSpPr>
            <p:spPr>
              <a:xfrm>
                <a:off x="7152291" y="2957906"/>
                <a:ext cx="1004873" cy="295198"/>
              </a:xfrm>
              <a:prstGeom prst="rect">
                <a:avLst/>
              </a:prstGeom>
              <a:noFill/>
            </p:spPr>
            <p:txBody>
              <a:bodyPr vert="horz" wrap="none" lIns="36000" tIns="36000" rIns="36000" bIns="36000" rtlCol="0">
                <a:noAutofit/>
              </a:bodyPr>
              <a:lstStyle/>
              <a:p>
                <a:pPr algn="ctr">
                  <a:spcBef>
                    <a:spcPts val="600"/>
                  </a:spcBef>
                  <a:buClr>
                    <a:srgbClr val="002060"/>
                  </a:buClr>
                </a:pPr>
                <a:r>
                  <a:rPr lang="en-GB" sz="1050" b="1" dirty="0">
                    <a:latin typeface="Tahoma" panose="020B0604030504040204" pitchFamily="34" charset="0"/>
                    <a:ea typeface="Tahoma" panose="020B0604030504040204" pitchFamily="34" charset="0"/>
                    <a:cs typeface="Tahoma" panose="020B0604030504040204" pitchFamily="34" charset="0"/>
                  </a:rPr>
                  <a:t>Writing &amp;</a:t>
                </a:r>
                <a:br>
                  <a:rPr lang="en-GB" sz="1050" b="1" dirty="0">
                    <a:latin typeface="Tahoma" panose="020B0604030504040204" pitchFamily="34" charset="0"/>
                    <a:ea typeface="Tahoma" panose="020B0604030504040204" pitchFamily="34" charset="0"/>
                    <a:cs typeface="Tahoma" panose="020B0604030504040204" pitchFamily="34" charset="0"/>
                  </a:rPr>
                </a:br>
                <a:r>
                  <a:rPr lang="en-GB" sz="1050" b="1" dirty="0">
                    <a:latin typeface="Tahoma" panose="020B0604030504040204" pitchFamily="34" charset="0"/>
                    <a:ea typeface="Tahoma" panose="020B0604030504040204" pitchFamily="34" charset="0"/>
                    <a:cs typeface="Tahoma" panose="020B0604030504040204" pitchFamily="34" charset="0"/>
                  </a:rPr>
                  <a:t>Communications</a:t>
                </a:r>
              </a:p>
            </p:txBody>
          </p:sp>
          <p:grpSp>
            <p:nvGrpSpPr>
              <p:cNvPr id="11" name="Group 10">
                <a:extLst>
                  <a:ext uri="{FF2B5EF4-FFF2-40B4-BE49-F238E27FC236}">
                    <a16:creationId xmlns:a16="http://schemas.microsoft.com/office/drawing/2014/main" id="{A1142556-74D4-4F1B-B032-B35324EFE1A6}"/>
                  </a:ext>
                </a:extLst>
              </p:cNvPr>
              <p:cNvGrpSpPr/>
              <p:nvPr/>
            </p:nvGrpSpPr>
            <p:grpSpPr>
              <a:xfrm>
                <a:off x="2636890" y="1212528"/>
                <a:ext cx="5047937" cy="5047938"/>
                <a:chOff x="867873" y="1505119"/>
                <a:chExt cx="3600000" cy="3600000"/>
              </a:xfrm>
            </p:grpSpPr>
            <p:cxnSp>
              <p:nvCxnSpPr>
                <p:cNvPr id="6" name="Straight Connector 5">
                  <a:extLst>
                    <a:ext uri="{FF2B5EF4-FFF2-40B4-BE49-F238E27FC236}">
                      <a16:creationId xmlns:a16="http://schemas.microsoft.com/office/drawing/2014/main" id="{722BB7FE-877E-43A0-A5B8-AA32C16BBF69}"/>
                    </a:ext>
                  </a:extLst>
                </p:cNvPr>
                <p:cNvCxnSpPr/>
                <p:nvPr/>
              </p:nvCxnSpPr>
              <p:spPr>
                <a:xfrm>
                  <a:off x="2667873" y="1505119"/>
                  <a:ext cx="0" cy="3600000"/>
                </a:xfrm>
                <a:prstGeom prst="line">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DBC8CF97-E7B5-468A-981B-E9B370AEF575}"/>
                    </a:ext>
                  </a:extLst>
                </p:cNvPr>
                <p:cNvCxnSpPr>
                  <a:cxnSpLocks/>
                </p:cNvCxnSpPr>
                <p:nvPr/>
              </p:nvCxnSpPr>
              <p:spPr>
                <a:xfrm flipH="1">
                  <a:off x="867873" y="3305119"/>
                  <a:ext cx="3600000" cy="0"/>
                </a:xfrm>
                <a:prstGeom prst="line">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3" name="TextBox 62">
                <a:extLst>
                  <a:ext uri="{FF2B5EF4-FFF2-40B4-BE49-F238E27FC236}">
                    <a16:creationId xmlns:a16="http://schemas.microsoft.com/office/drawing/2014/main" id="{CB1A63BA-0109-4675-ABC7-EB367554C200}"/>
                  </a:ext>
                </a:extLst>
              </p:cNvPr>
              <p:cNvSpPr txBox="1"/>
              <p:nvPr/>
            </p:nvSpPr>
            <p:spPr>
              <a:xfrm>
                <a:off x="7091403" y="5704817"/>
                <a:ext cx="1759136" cy="295198"/>
              </a:xfrm>
              <a:prstGeom prst="rect">
                <a:avLst/>
              </a:prstGeom>
              <a:noFill/>
            </p:spPr>
            <p:txBody>
              <a:bodyPr vert="horz" wrap="none" lIns="36000" tIns="36000" rIns="36000" bIns="36000" rtlCol="0">
                <a:noAutofit/>
              </a:bodyPr>
              <a:lstStyle/>
              <a:p>
                <a:pPr algn="ctr">
                  <a:spcBef>
                    <a:spcPts val="600"/>
                  </a:spcBef>
                  <a:buClr>
                    <a:srgbClr val="002060"/>
                  </a:buClr>
                </a:pPr>
                <a:r>
                  <a:rPr lang="en-GB" sz="1200" b="1">
                    <a:latin typeface="Tahoma" panose="020B0604030504040204" pitchFamily="34" charset="0"/>
                    <a:ea typeface="Tahoma" panose="020B0604030504040204" pitchFamily="34" charset="0"/>
                    <a:cs typeface="Tahoma" panose="020B0604030504040204" pitchFamily="34" charset="0"/>
                  </a:rPr>
                  <a:t>Business</a:t>
                </a:r>
                <a:br>
                  <a:rPr lang="en-GB" sz="1200" b="1">
                    <a:latin typeface="Tahoma" panose="020B0604030504040204" pitchFamily="34" charset="0"/>
                    <a:ea typeface="Tahoma" panose="020B0604030504040204" pitchFamily="34" charset="0"/>
                    <a:cs typeface="Tahoma" panose="020B0604030504040204" pitchFamily="34" charset="0"/>
                  </a:rPr>
                </a:br>
                <a:r>
                  <a:rPr lang="en-GB" sz="1200" b="1">
                    <a:latin typeface="Tahoma" panose="020B0604030504040204" pitchFamily="34" charset="0"/>
                    <a:ea typeface="Tahoma" panose="020B0604030504040204" pitchFamily="34" charset="0"/>
                    <a:cs typeface="Tahoma" panose="020B0604030504040204" pitchFamily="34" charset="0"/>
                  </a:rPr>
                  <a:t>Operations</a:t>
                </a:r>
              </a:p>
            </p:txBody>
          </p:sp>
          <p:sp>
            <p:nvSpPr>
              <p:cNvPr id="64" name="TextBox 63">
                <a:extLst>
                  <a:ext uri="{FF2B5EF4-FFF2-40B4-BE49-F238E27FC236}">
                    <a16:creationId xmlns:a16="http://schemas.microsoft.com/office/drawing/2014/main" id="{30C7EFEB-2093-4315-B5A3-F98694A3E6F1}"/>
                  </a:ext>
                </a:extLst>
              </p:cNvPr>
              <p:cNvSpPr txBox="1"/>
              <p:nvPr/>
            </p:nvSpPr>
            <p:spPr>
              <a:xfrm>
                <a:off x="1552553" y="5704817"/>
                <a:ext cx="1759136" cy="295198"/>
              </a:xfrm>
              <a:prstGeom prst="rect">
                <a:avLst/>
              </a:prstGeom>
              <a:noFill/>
            </p:spPr>
            <p:txBody>
              <a:bodyPr vert="horz" wrap="none" lIns="36000" tIns="36000" rIns="36000" bIns="36000" rtlCol="0">
                <a:noAutofit/>
              </a:bodyPr>
              <a:lstStyle/>
              <a:p>
                <a:pPr algn="ctr">
                  <a:spcBef>
                    <a:spcPts val="600"/>
                  </a:spcBef>
                  <a:buClr>
                    <a:srgbClr val="002060"/>
                  </a:buClr>
                </a:pPr>
                <a:r>
                  <a:rPr lang="en-GB" sz="1200" b="1">
                    <a:latin typeface="Tahoma" panose="020B0604030504040204" pitchFamily="34" charset="0"/>
                    <a:ea typeface="Tahoma" panose="020B0604030504040204" pitchFamily="34" charset="0"/>
                    <a:cs typeface="Tahoma" panose="020B0604030504040204" pitchFamily="34" charset="0"/>
                  </a:rPr>
                  <a:t>Client &amp; Team</a:t>
                </a:r>
                <a:br>
                  <a:rPr lang="en-GB" sz="1200" b="1">
                    <a:latin typeface="Tahoma" panose="020B0604030504040204" pitchFamily="34" charset="0"/>
                    <a:ea typeface="Tahoma" panose="020B0604030504040204" pitchFamily="34" charset="0"/>
                    <a:cs typeface="Tahoma" panose="020B0604030504040204" pitchFamily="34" charset="0"/>
                  </a:rPr>
                </a:br>
                <a:r>
                  <a:rPr lang="en-GB" sz="1200" b="1">
                    <a:latin typeface="Tahoma" panose="020B0604030504040204" pitchFamily="34" charset="0"/>
                    <a:ea typeface="Tahoma" panose="020B0604030504040204" pitchFamily="34" charset="0"/>
                    <a:cs typeface="Tahoma" panose="020B0604030504040204" pitchFamily="34" charset="0"/>
                  </a:rPr>
                  <a:t>Interactions</a:t>
                </a:r>
              </a:p>
            </p:txBody>
          </p:sp>
          <p:sp>
            <p:nvSpPr>
              <p:cNvPr id="65" name="TextBox 64">
                <a:extLst>
                  <a:ext uri="{FF2B5EF4-FFF2-40B4-BE49-F238E27FC236}">
                    <a16:creationId xmlns:a16="http://schemas.microsoft.com/office/drawing/2014/main" id="{BB065A5A-EE8E-441A-9D69-DBEB04037FC3}"/>
                  </a:ext>
                </a:extLst>
              </p:cNvPr>
              <p:cNvSpPr txBox="1"/>
              <p:nvPr/>
            </p:nvSpPr>
            <p:spPr>
              <a:xfrm>
                <a:off x="1552553" y="1327467"/>
                <a:ext cx="1759136" cy="295198"/>
              </a:xfrm>
              <a:prstGeom prst="rect">
                <a:avLst/>
              </a:prstGeom>
              <a:noFill/>
            </p:spPr>
            <p:txBody>
              <a:bodyPr vert="horz" wrap="none" lIns="36000" tIns="36000" rIns="36000" bIns="36000" rtlCol="0">
                <a:noAutofit/>
              </a:bodyPr>
              <a:lstStyle/>
              <a:p>
                <a:pPr algn="ctr">
                  <a:spcBef>
                    <a:spcPts val="600"/>
                  </a:spcBef>
                  <a:buClr>
                    <a:srgbClr val="002060"/>
                  </a:buClr>
                </a:pPr>
                <a:r>
                  <a:rPr lang="en-GB" sz="1200" b="1" dirty="0">
                    <a:latin typeface="Tahoma" panose="020B0604030504040204" pitchFamily="34" charset="0"/>
                    <a:ea typeface="Tahoma" panose="020B0604030504040204" pitchFamily="34" charset="0"/>
                    <a:cs typeface="Tahoma" panose="020B0604030504040204" pitchFamily="34" charset="0"/>
                  </a:rPr>
                  <a:t>Business</a:t>
                </a:r>
                <a:br>
                  <a:rPr lang="en-GB" sz="1200" b="1" dirty="0">
                    <a:latin typeface="Tahoma" panose="020B0604030504040204" pitchFamily="34" charset="0"/>
                    <a:ea typeface="Tahoma" panose="020B0604030504040204" pitchFamily="34" charset="0"/>
                    <a:cs typeface="Tahoma" panose="020B0604030504040204" pitchFamily="34" charset="0"/>
                  </a:rPr>
                </a:br>
                <a:r>
                  <a:rPr lang="en-GB" sz="1200" b="1" dirty="0">
                    <a:latin typeface="Tahoma" panose="020B0604030504040204" pitchFamily="34" charset="0"/>
                    <a:ea typeface="Tahoma" panose="020B0604030504040204" pitchFamily="34" charset="0"/>
                    <a:cs typeface="Tahoma" panose="020B0604030504040204" pitchFamily="34" charset="0"/>
                  </a:rPr>
                  <a:t>Development</a:t>
                </a:r>
              </a:p>
            </p:txBody>
          </p:sp>
          <p:sp>
            <p:nvSpPr>
              <p:cNvPr id="66" name="TextBox 65">
                <a:extLst>
                  <a:ext uri="{FF2B5EF4-FFF2-40B4-BE49-F238E27FC236}">
                    <a16:creationId xmlns:a16="http://schemas.microsoft.com/office/drawing/2014/main" id="{8A637F97-797E-4DB7-951E-3189ABC78C0F}"/>
                  </a:ext>
                </a:extLst>
              </p:cNvPr>
              <p:cNvSpPr txBox="1"/>
              <p:nvPr/>
            </p:nvSpPr>
            <p:spPr>
              <a:xfrm>
                <a:off x="7042626" y="4155689"/>
                <a:ext cx="1004873" cy="295198"/>
              </a:xfrm>
              <a:prstGeom prst="rect">
                <a:avLst/>
              </a:prstGeom>
              <a:noFill/>
            </p:spPr>
            <p:txBody>
              <a:bodyPr vert="horz" wrap="none" lIns="36000" tIns="36000" rIns="36000" bIns="36000" rtlCol="0">
                <a:noAutofit/>
              </a:bodyPr>
              <a:lstStyle>
                <a:defPPr>
                  <a:defRPr lang="en-US"/>
                </a:defPPr>
                <a:lvl1pPr algn="ctr">
                  <a:spcBef>
                    <a:spcPts val="600"/>
                  </a:spcBef>
                  <a:spcAft>
                    <a:spcPts val="0"/>
                  </a:spcAft>
                  <a:buClr>
                    <a:srgbClr val="002060"/>
                  </a:buClr>
                  <a:defRPr sz="1050"/>
                </a:lvl1pPr>
              </a:lstStyle>
              <a:p>
                <a:r>
                  <a:rPr lang="en-GB">
                    <a:latin typeface="Tahoma" panose="020B0604030504040204" pitchFamily="34" charset="0"/>
                    <a:ea typeface="Tahoma" panose="020B0604030504040204" pitchFamily="34" charset="0"/>
                    <a:cs typeface="Tahoma" panose="020B0604030504040204" pitchFamily="34" charset="0"/>
                  </a:rPr>
                  <a:t>Resourcing</a:t>
                </a:r>
              </a:p>
            </p:txBody>
          </p:sp>
          <p:sp>
            <p:nvSpPr>
              <p:cNvPr id="67" name="TextBox 66">
                <a:extLst>
                  <a:ext uri="{FF2B5EF4-FFF2-40B4-BE49-F238E27FC236}">
                    <a16:creationId xmlns:a16="http://schemas.microsoft.com/office/drawing/2014/main" id="{815A1B3D-42EF-48D9-A635-142884D0800E}"/>
                  </a:ext>
                </a:extLst>
              </p:cNvPr>
              <p:cNvSpPr txBox="1"/>
              <p:nvPr/>
            </p:nvSpPr>
            <p:spPr>
              <a:xfrm>
                <a:off x="6588742" y="5391318"/>
                <a:ext cx="1004873" cy="295198"/>
              </a:xfrm>
              <a:prstGeom prst="rect">
                <a:avLst/>
              </a:prstGeom>
              <a:noFill/>
            </p:spPr>
            <p:txBody>
              <a:bodyPr vert="horz" wrap="none" lIns="36000" tIns="36000" rIns="36000" bIns="36000" rtlCol="0">
                <a:noAutofit/>
              </a:bodyPr>
              <a:lstStyle>
                <a:defPPr>
                  <a:defRPr lang="en-US"/>
                </a:defPPr>
                <a:lvl1pPr algn="ctr">
                  <a:spcBef>
                    <a:spcPts val="600"/>
                  </a:spcBef>
                  <a:spcAft>
                    <a:spcPts val="0"/>
                  </a:spcAft>
                  <a:buClr>
                    <a:srgbClr val="002060"/>
                  </a:buClr>
                  <a:defRPr sz="1050"/>
                </a:lvl1pPr>
              </a:lstStyle>
              <a:p>
                <a:r>
                  <a:rPr lang="en-GB">
                    <a:latin typeface="Tahoma" panose="020B0604030504040204" pitchFamily="34" charset="0"/>
                    <a:ea typeface="Tahoma" panose="020B0604030504040204" pitchFamily="34" charset="0"/>
                    <a:cs typeface="Tahoma" panose="020B0604030504040204" pitchFamily="34" charset="0"/>
                  </a:rPr>
                  <a:t>Recruitment</a:t>
                </a:r>
              </a:p>
            </p:txBody>
          </p:sp>
          <p:sp>
            <p:nvSpPr>
              <p:cNvPr id="68" name="TextBox 67">
                <a:extLst>
                  <a:ext uri="{FF2B5EF4-FFF2-40B4-BE49-F238E27FC236}">
                    <a16:creationId xmlns:a16="http://schemas.microsoft.com/office/drawing/2014/main" id="{218228BD-8297-41BB-BA3E-D34EEA253D0B}"/>
                  </a:ext>
                </a:extLst>
              </p:cNvPr>
              <p:cNvSpPr txBox="1"/>
              <p:nvPr/>
            </p:nvSpPr>
            <p:spPr>
              <a:xfrm>
                <a:off x="5232107" y="5893628"/>
                <a:ext cx="1004873" cy="295198"/>
              </a:xfrm>
              <a:prstGeom prst="rect">
                <a:avLst/>
              </a:prstGeom>
              <a:noFill/>
            </p:spPr>
            <p:txBody>
              <a:bodyPr vert="horz" wrap="none" lIns="36000" tIns="36000" rIns="36000" bIns="36000" rtlCol="0">
                <a:noAutofit/>
              </a:bodyPr>
              <a:lstStyle>
                <a:defPPr>
                  <a:defRPr lang="en-US"/>
                </a:defPPr>
                <a:lvl1pPr algn="ctr">
                  <a:spcBef>
                    <a:spcPts val="600"/>
                  </a:spcBef>
                  <a:spcAft>
                    <a:spcPts val="0"/>
                  </a:spcAft>
                  <a:buClr>
                    <a:srgbClr val="002060"/>
                  </a:buClr>
                  <a:defRPr sz="1050"/>
                </a:lvl1pPr>
              </a:lstStyle>
              <a:p>
                <a:r>
                  <a:rPr lang="en-GB">
                    <a:latin typeface="Tahoma" panose="020B0604030504040204" pitchFamily="34" charset="0"/>
                    <a:ea typeface="Tahoma" panose="020B0604030504040204" pitchFamily="34" charset="0"/>
                    <a:cs typeface="Tahoma" panose="020B0604030504040204" pitchFamily="34" charset="0"/>
                  </a:rPr>
                  <a:t>Reporting</a:t>
                </a:r>
              </a:p>
            </p:txBody>
          </p:sp>
          <p:sp>
            <p:nvSpPr>
              <p:cNvPr id="69" name="TextBox 68">
                <a:extLst>
                  <a:ext uri="{FF2B5EF4-FFF2-40B4-BE49-F238E27FC236}">
                    <a16:creationId xmlns:a16="http://schemas.microsoft.com/office/drawing/2014/main" id="{DF8DFF1B-D98F-4BE2-BC66-2827BEEC5843}"/>
                  </a:ext>
                </a:extLst>
              </p:cNvPr>
              <p:cNvSpPr txBox="1"/>
              <p:nvPr/>
            </p:nvSpPr>
            <p:spPr>
              <a:xfrm>
                <a:off x="3964774" y="5853461"/>
                <a:ext cx="1004873" cy="295198"/>
              </a:xfrm>
              <a:prstGeom prst="rect">
                <a:avLst/>
              </a:prstGeom>
              <a:noFill/>
            </p:spPr>
            <p:txBody>
              <a:bodyPr vert="horz" wrap="none" lIns="36000" tIns="36000" rIns="36000" bIns="36000" rtlCol="0">
                <a:noAutofit/>
              </a:bodyPr>
              <a:lstStyle>
                <a:defPPr>
                  <a:defRPr lang="en-US"/>
                </a:defPPr>
                <a:lvl1pPr algn="ctr">
                  <a:spcBef>
                    <a:spcPts val="600"/>
                  </a:spcBef>
                  <a:spcAft>
                    <a:spcPts val="0"/>
                  </a:spcAft>
                  <a:buClr>
                    <a:srgbClr val="002060"/>
                  </a:buClr>
                  <a:defRPr sz="1050"/>
                </a:lvl1pPr>
              </a:lstStyle>
              <a:p>
                <a:r>
                  <a:rPr lang="en-GB">
                    <a:latin typeface="Tahoma" panose="020B0604030504040204" pitchFamily="34" charset="0"/>
                    <a:ea typeface="Tahoma" panose="020B0604030504040204" pitchFamily="34" charset="0"/>
                    <a:cs typeface="Tahoma" panose="020B0604030504040204" pitchFamily="34" charset="0"/>
                  </a:rPr>
                  <a:t>Client</a:t>
                </a:r>
                <a:br>
                  <a:rPr lang="en-GB">
                    <a:latin typeface="Tahoma" panose="020B0604030504040204" pitchFamily="34" charset="0"/>
                    <a:ea typeface="Tahoma" panose="020B0604030504040204" pitchFamily="34" charset="0"/>
                    <a:cs typeface="Tahoma" panose="020B0604030504040204" pitchFamily="34" charset="0"/>
                  </a:rPr>
                </a:br>
                <a:r>
                  <a:rPr lang="en-GB">
                    <a:latin typeface="Tahoma" panose="020B0604030504040204" pitchFamily="34" charset="0"/>
                    <a:ea typeface="Tahoma" panose="020B0604030504040204" pitchFamily="34" charset="0"/>
                    <a:cs typeface="Tahoma" panose="020B0604030504040204" pitchFamily="34" charset="0"/>
                  </a:rPr>
                  <a:t>Relationships</a:t>
                </a:r>
              </a:p>
            </p:txBody>
          </p:sp>
          <p:sp>
            <p:nvSpPr>
              <p:cNvPr id="70" name="TextBox 69">
                <a:extLst>
                  <a:ext uri="{FF2B5EF4-FFF2-40B4-BE49-F238E27FC236}">
                    <a16:creationId xmlns:a16="http://schemas.microsoft.com/office/drawing/2014/main" id="{54F93047-440C-4AEE-A295-1BB794416A7B}"/>
                  </a:ext>
                </a:extLst>
              </p:cNvPr>
              <p:cNvSpPr txBox="1"/>
              <p:nvPr/>
            </p:nvSpPr>
            <p:spPr>
              <a:xfrm>
                <a:off x="2894000" y="5208076"/>
                <a:ext cx="1004873" cy="295198"/>
              </a:xfrm>
              <a:prstGeom prst="rect">
                <a:avLst/>
              </a:prstGeom>
              <a:noFill/>
            </p:spPr>
            <p:txBody>
              <a:bodyPr vert="horz" wrap="none" lIns="36000" tIns="36000" rIns="36000" bIns="36000" rtlCol="0">
                <a:noAutofit/>
              </a:bodyPr>
              <a:lstStyle>
                <a:defPPr>
                  <a:defRPr lang="en-US"/>
                </a:defPPr>
                <a:lvl1pPr algn="ctr">
                  <a:spcBef>
                    <a:spcPts val="600"/>
                  </a:spcBef>
                  <a:spcAft>
                    <a:spcPts val="0"/>
                  </a:spcAft>
                  <a:buClr>
                    <a:srgbClr val="002060"/>
                  </a:buClr>
                  <a:defRPr sz="1050"/>
                </a:lvl1pPr>
              </a:lstStyle>
              <a:p>
                <a:r>
                  <a:rPr lang="en-GB">
                    <a:latin typeface="Tahoma" panose="020B0604030504040204" pitchFamily="34" charset="0"/>
                    <a:ea typeface="Tahoma" panose="020B0604030504040204" pitchFamily="34" charset="0"/>
                    <a:cs typeface="Tahoma" panose="020B0604030504040204" pitchFamily="34" charset="0"/>
                  </a:rPr>
                  <a:t>Personal</a:t>
                </a:r>
                <a:br>
                  <a:rPr lang="en-GB">
                    <a:latin typeface="Tahoma" panose="020B0604030504040204" pitchFamily="34" charset="0"/>
                    <a:ea typeface="Tahoma" panose="020B0604030504040204" pitchFamily="34" charset="0"/>
                    <a:cs typeface="Tahoma" panose="020B0604030504040204" pitchFamily="34" charset="0"/>
                  </a:rPr>
                </a:br>
                <a:r>
                  <a:rPr lang="en-GB">
                    <a:latin typeface="Tahoma" panose="020B0604030504040204" pitchFamily="34" charset="0"/>
                    <a:ea typeface="Tahoma" panose="020B0604030504040204" pitchFamily="34" charset="0"/>
                    <a:cs typeface="Tahoma" panose="020B0604030504040204" pitchFamily="34" charset="0"/>
                  </a:rPr>
                  <a:t>Attitude</a:t>
                </a:r>
              </a:p>
            </p:txBody>
          </p:sp>
          <p:sp>
            <p:nvSpPr>
              <p:cNvPr id="71" name="TextBox 70">
                <a:extLst>
                  <a:ext uri="{FF2B5EF4-FFF2-40B4-BE49-F238E27FC236}">
                    <a16:creationId xmlns:a16="http://schemas.microsoft.com/office/drawing/2014/main" id="{89A672A7-D513-4A7F-B964-130A988DE728}"/>
                  </a:ext>
                </a:extLst>
              </p:cNvPr>
              <p:cNvSpPr txBox="1"/>
              <p:nvPr/>
            </p:nvSpPr>
            <p:spPr>
              <a:xfrm>
                <a:off x="2240387" y="4121519"/>
                <a:ext cx="1004873" cy="295198"/>
              </a:xfrm>
              <a:prstGeom prst="rect">
                <a:avLst/>
              </a:prstGeom>
              <a:noFill/>
            </p:spPr>
            <p:txBody>
              <a:bodyPr vert="horz" wrap="none" lIns="36000" tIns="36000" rIns="36000" bIns="36000" rtlCol="0">
                <a:noAutofit/>
              </a:bodyPr>
              <a:lstStyle>
                <a:defPPr>
                  <a:defRPr lang="en-US"/>
                </a:defPPr>
                <a:lvl1pPr algn="ctr">
                  <a:spcBef>
                    <a:spcPts val="600"/>
                  </a:spcBef>
                  <a:spcAft>
                    <a:spcPts val="0"/>
                  </a:spcAft>
                  <a:buClr>
                    <a:srgbClr val="002060"/>
                  </a:buClr>
                  <a:defRPr sz="1050"/>
                </a:lvl1pPr>
              </a:lstStyle>
              <a:p>
                <a:r>
                  <a:rPr lang="en-GB">
                    <a:latin typeface="Tahoma" panose="020B0604030504040204" pitchFamily="34" charset="0"/>
                    <a:ea typeface="Tahoma" panose="020B0604030504040204" pitchFamily="34" charset="0"/>
                    <a:cs typeface="Tahoma" panose="020B0604030504040204" pitchFamily="34" charset="0"/>
                  </a:rPr>
                  <a:t>Leadership</a:t>
                </a:r>
              </a:p>
            </p:txBody>
          </p:sp>
          <p:sp>
            <p:nvSpPr>
              <p:cNvPr id="72" name="TextBox 71">
                <a:extLst>
                  <a:ext uri="{FF2B5EF4-FFF2-40B4-BE49-F238E27FC236}">
                    <a16:creationId xmlns:a16="http://schemas.microsoft.com/office/drawing/2014/main" id="{162F970B-D043-41DE-AEEB-82279F0574B9}"/>
                  </a:ext>
                </a:extLst>
              </p:cNvPr>
              <p:cNvSpPr txBox="1"/>
              <p:nvPr/>
            </p:nvSpPr>
            <p:spPr>
              <a:xfrm>
                <a:off x="4032933" y="1274328"/>
                <a:ext cx="1004873" cy="295198"/>
              </a:xfrm>
              <a:prstGeom prst="rect">
                <a:avLst/>
              </a:prstGeom>
              <a:noFill/>
            </p:spPr>
            <p:txBody>
              <a:bodyPr vert="horz" wrap="none" lIns="36000" tIns="36000" rIns="36000" bIns="36000" rtlCol="0">
                <a:noAutofit/>
              </a:bodyPr>
              <a:lstStyle>
                <a:defPPr>
                  <a:defRPr lang="en-US"/>
                </a:defPPr>
                <a:lvl1pPr algn="ctr">
                  <a:spcBef>
                    <a:spcPts val="600"/>
                  </a:spcBef>
                  <a:spcAft>
                    <a:spcPts val="0"/>
                  </a:spcAft>
                  <a:buClr>
                    <a:srgbClr val="002060"/>
                  </a:buClr>
                  <a:defRPr sz="1050"/>
                </a:lvl1pPr>
              </a:lstStyle>
              <a:p>
                <a:r>
                  <a:rPr lang="en-GB">
                    <a:latin typeface="Tahoma" panose="020B0604030504040204" pitchFamily="34" charset="0"/>
                    <a:ea typeface="Tahoma" panose="020B0604030504040204" pitchFamily="34" charset="0"/>
                    <a:cs typeface="Tahoma" panose="020B0604030504040204" pitchFamily="34" charset="0"/>
                  </a:rPr>
                  <a:t>Firm</a:t>
                </a:r>
                <a:br>
                  <a:rPr lang="en-GB">
                    <a:latin typeface="Tahoma" panose="020B0604030504040204" pitchFamily="34" charset="0"/>
                    <a:ea typeface="Tahoma" panose="020B0604030504040204" pitchFamily="34" charset="0"/>
                    <a:cs typeface="Tahoma" panose="020B0604030504040204" pitchFamily="34" charset="0"/>
                  </a:rPr>
                </a:br>
                <a:r>
                  <a:rPr lang="en-GB">
                    <a:latin typeface="Tahoma" panose="020B0604030504040204" pitchFamily="34" charset="0"/>
                    <a:ea typeface="Tahoma" panose="020B0604030504040204" pitchFamily="34" charset="0"/>
                    <a:cs typeface="Tahoma" panose="020B0604030504040204" pitchFamily="34" charset="0"/>
                  </a:rPr>
                  <a:t>Advocacy</a:t>
                </a:r>
              </a:p>
            </p:txBody>
          </p:sp>
          <p:sp>
            <p:nvSpPr>
              <p:cNvPr id="73" name="TextBox 72">
                <a:extLst>
                  <a:ext uri="{FF2B5EF4-FFF2-40B4-BE49-F238E27FC236}">
                    <a16:creationId xmlns:a16="http://schemas.microsoft.com/office/drawing/2014/main" id="{75B60A75-6280-43F3-AB88-557EC4903E2E}"/>
                  </a:ext>
                </a:extLst>
              </p:cNvPr>
              <p:cNvSpPr txBox="1"/>
              <p:nvPr/>
            </p:nvSpPr>
            <p:spPr>
              <a:xfrm>
                <a:off x="2902137" y="1827541"/>
                <a:ext cx="1004873" cy="295198"/>
              </a:xfrm>
              <a:prstGeom prst="rect">
                <a:avLst/>
              </a:prstGeom>
              <a:noFill/>
            </p:spPr>
            <p:txBody>
              <a:bodyPr vert="horz" wrap="none" lIns="36000" tIns="36000" rIns="36000" bIns="36000" rtlCol="0">
                <a:noAutofit/>
              </a:bodyPr>
              <a:lstStyle>
                <a:defPPr>
                  <a:defRPr lang="en-US"/>
                </a:defPPr>
                <a:lvl1pPr algn="ctr">
                  <a:spcBef>
                    <a:spcPts val="600"/>
                  </a:spcBef>
                  <a:spcAft>
                    <a:spcPts val="0"/>
                  </a:spcAft>
                  <a:buClr>
                    <a:srgbClr val="002060"/>
                  </a:buClr>
                  <a:defRPr sz="1050"/>
                </a:lvl1pPr>
              </a:lstStyle>
              <a:p>
                <a:r>
                  <a:rPr lang="en-GB">
                    <a:latin typeface="Tahoma" panose="020B0604030504040204" pitchFamily="34" charset="0"/>
                    <a:ea typeface="Tahoma" panose="020B0604030504040204" pitchFamily="34" charset="0"/>
                    <a:cs typeface="Tahoma" panose="020B0604030504040204" pitchFamily="34" charset="0"/>
                  </a:rPr>
                  <a:t>Long-term</a:t>
                </a:r>
                <a:br>
                  <a:rPr lang="en-GB">
                    <a:latin typeface="Tahoma" panose="020B0604030504040204" pitchFamily="34" charset="0"/>
                    <a:ea typeface="Tahoma" panose="020B0604030504040204" pitchFamily="34" charset="0"/>
                    <a:cs typeface="Tahoma" panose="020B0604030504040204" pitchFamily="34" charset="0"/>
                  </a:rPr>
                </a:br>
                <a:r>
                  <a:rPr lang="en-GB">
                    <a:latin typeface="Tahoma" panose="020B0604030504040204" pitchFamily="34" charset="0"/>
                    <a:ea typeface="Tahoma" panose="020B0604030504040204" pitchFamily="34" charset="0"/>
                    <a:cs typeface="Tahoma" panose="020B0604030504040204" pitchFamily="34" charset="0"/>
                  </a:rPr>
                  <a:t>Relationships</a:t>
                </a:r>
              </a:p>
            </p:txBody>
          </p:sp>
          <p:sp>
            <p:nvSpPr>
              <p:cNvPr id="74" name="TextBox 73">
                <a:extLst>
                  <a:ext uri="{FF2B5EF4-FFF2-40B4-BE49-F238E27FC236}">
                    <a16:creationId xmlns:a16="http://schemas.microsoft.com/office/drawing/2014/main" id="{CCE5F488-A8E0-474A-B61F-4478A9084BC1}"/>
                  </a:ext>
                </a:extLst>
              </p:cNvPr>
              <p:cNvSpPr txBox="1"/>
              <p:nvPr/>
            </p:nvSpPr>
            <p:spPr>
              <a:xfrm>
                <a:off x="2152838" y="2852006"/>
                <a:ext cx="1004873" cy="295198"/>
              </a:xfrm>
              <a:prstGeom prst="rect">
                <a:avLst/>
              </a:prstGeom>
              <a:noFill/>
            </p:spPr>
            <p:txBody>
              <a:bodyPr vert="horz" wrap="none" lIns="36000" tIns="36000" rIns="36000" bIns="36000" rtlCol="0">
                <a:noAutofit/>
              </a:bodyPr>
              <a:lstStyle>
                <a:defPPr>
                  <a:defRPr lang="en-US"/>
                </a:defPPr>
                <a:lvl1pPr algn="ctr">
                  <a:spcBef>
                    <a:spcPts val="600"/>
                  </a:spcBef>
                  <a:spcAft>
                    <a:spcPts val="0"/>
                  </a:spcAft>
                  <a:buClr>
                    <a:srgbClr val="002060"/>
                  </a:buClr>
                  <a:defRPr sz="1050"/>
                </a:lvl1pPr>
              </a:lstStyle>
              <a:p>
                <a:r>
                  <a:rPr lang="en-GB">
                    <a:latin typeface="Tahoma" panose="020B0604030504040204" pitchFamily="34" charset="0"/>
                    <a:ea typeface="Tahoma" panose="020B0604030504040204" pitchFamily="34" charset="0"/>
                    <a:cs typeface="Tahoma" panose="020B0604030504040204" pitchFamily="34" charset="0"/>
                  </a:rPr>
                  <a:t>New Client </a:t>
                </a:r>
                <a:br>
                  <a:rPr lang="en-GB">
                    <a:latin typeface="Tahoma" panose="020B0604030504040204" pitchFamily="34" charset="0"/>
                    <a:ea typeface="Tahoma" panose="020B0604030504040204" pitchFamily="34" charset="0"/>
                    <a:cs typeface="Tahoma" panose="020B0604030504040204" pitchFamily="34" charset="0"/>
                  </a:rPr>
                </a:br>
                <a:r>
                  <a:rPr lang="en-GB">
                    <a:latin typeface="Tahoma" panose="020B0604030504040204" pitchFamily="34" charset="0"/>
                    <a:ea typeface="Tahoma" panose="020B0604030504040204" pitchFamily="34" charset="0"/>
                    <a:cs typeface="Tahoma" panose="020B0604030504040204" pitchFamily="34" charset="0"/>
                  </a:rPr>
                  <a:t>Conversion</a:t>
                </a:r>
              </a:p>
            </p:txBody>
          </p:sp>
          <p:sp>
            <p:nvSpPr>
              <p:cNvPr id="76" name="TextBox 75">
                <a:extLst>
                  <a:ext uri="{FF2B5EF4-FFF2-40B4-BE49-F238E27FC236}">
                    <a16:creationId xmlns:a16="http://schemas.microsoft.com/office/drawing/2014/main" id="{D6A2DBEE-E3EA-4861-8737-BA73E2C3A9E2}"/>
                  </a:ext>
                </a:extLst>
              </p:cNvPr>
              <p:cNvSpPr txBox="1"/>
              <p:nvPr/>
            </p:nvSpPr>
            <p:spPr>
              <a:xfrm>
                <a:off x="4599510" y="3093158"/>
                <a:ext cx="425364" cy="234286"/>
              </a:xfrm>
              <a:prstGeom prst="rect">
                <a:avLst/>
              </a:prstGeom>
              <a:noFill/>
            </p:spPr>
            <p:txBody>
              <a:bodyPr vert="horz" wrap="none" lIns="36000" tIns="36000" rIns="36000" bIns="36000" rtlCol="0">
                <a:spAutoFit/>
              </a:bodyPr>
              <a:lstStyle/>
              <a:p>
                <a:pPr algn="ctr">
                  <a:spcBef>
                    <a:spcPts val="600"/>
                  </a:spcBef>
                  <a:buClr>
                    <a:srgbClr val="002060"/>
                  </a:buClr>
                </a:pPr>
                <a:r>
                  <a:rPr lang="en-GB" sz="1050" b="1" dirty="0">
                    <a:latin typeface="Tahoma" panose="020B0604030504040204" pitchFamily="34" charset="0"/>
                    <a:ea typeface="Tahoma" panose="020B0604030504040204" pitchFamily="34" charset="0"/>
                    <a:cs typeface="Tahoma" panose="020B0604030504040204" pitchFamily="34" charset="0"/>
                  </a:rPr>
                  <a:t>Good</a:t>
                </a:r>
              </a:p>
            </p:txBody>
          </p:sp>
          <p:sp>
            <p:nvSpPr>
              <p:cNvPr id="96" name="TextBox 95">
                <a:extLst>
                  <a:ext uri="{FF2B5EF4-FFF2-40B4-BE49-F238E27FC236}">
                    <a16:creationId xmlns:a16="http://schemas.microsoft.com/office/drawing/2014/main" id="{9BF893EB-F975-4085-BCBB-ECD2A11D9180}"/>
                  </a:ext>
                </a:extLst>
              </p:cNvPr>
              <p:cNvSpPr txBox="1"/>
              <p:nvPr/>
            </p:nvSpPr>
            <p:spPr>
              <a:xfrm>
                <a:off x="4394504" y="2069860"/>
                <a:ext cx="535971" cy="234286"/>
              </a:xfrm>
              <a:prstGeom prst="rect">
                <a:avLst/>
              </a:prstGeom>
              <a:noFill/>
            </p:spPr>
            <p:txBody>
              <a:bodyPr vert="horz" wrap="none" lIns="36000" tIns="36000" rIns="36000" bIns="36000" rtlCol="0">
                <a:spAutoFit/>
              </a:bodyPr>
              <a:lstStyle/>
              <a:p>
                <a:pPr algn="ctr">
                  <a:spcBef>
                    <a:spcPts val="600"/>
                  </a:spcBef>
                  <a:buClr>
                    <a:srgbClr val="002060"/>
                  </a:buClr>
                </a:pPr>
                <a:r>
                  <a:rPr lang="en-GB" sz="1050" b="1">
                    <a:latin typeface="Tahoma" panose="020B0604030504040204" pitchFamily="34" charset="0"/>
                    <a:ea typeface="Tahoma" panose="020B0604030504040204" pitchFamily="34" charset="0"/>
                    <a:cs typeface="Tahoma" panose="020B0604030504040204" pitchFamily="34" charset="0"/>
                  </a:rPr>
                  <a:t>Master</a:t>
                </a:r>
              </a:p>
            </p:txBody>
          </p:sp>
          <p:sp>
            <p:nvSpPr>
              <p:cNvPr id="103" name="TextBox 102">
                <a:extLst>
                  <a:ext uri="{FF2B5EF4-FFF2-40B4-BE49-F238E27FC236}">
                    <a16:creationId xmlns:a16="http://schemas.microsoft.com/office/drawing/2014/main" id="{EC71D3A3-0A60-44DF-B255-8731ADF23BF3}"/>
                  </a:ext>
                </a:extLst>
              </p:cNvPr>
              <p:cNvSpPr txBox="1"/>
              <p:nvPr/>
            </p:nvSpPr>
            <p:spPr>
              <a:xfrm>
                <a:off x="4401336" y="2618821"/>
                <a:ext cx="691462" cy="234286"/>
              </a:xfrm>
              <a:prstGeom prst="rect">
                <a:avLst/>
              </a:prstGeom>
              <a:noFill/>
            </p:spPr>
            <p:txBody>
              <a:bodyPr vert="horz" wrap="none" lIns="36000" tIns="36000" rIns="36000" bIns="36000" rtlCol="0">
                <a:spAutoFit/>
              </a:bodyPr>
              <a:lstStyle/>
              <a:p>
                <a:pPr algn="ctr">
                  <a:spcBef>
                    <a:spcPts val="600"/>
                  </a:spcBef>
                  <a:buClr>
                    <a:srgbClr val="002060"/>
                  </a:buClr>
                </a:pPr>
                <a:r>
                  <a:rPr lang="en-GB" sz="1050" b="1">
                    <a:latin typeface="Tahoma" panose="020B0604030504040204" pitchFamily="34" charset="0"/>
                    <a:ea typeface="Tahoma" panose="020B0604030504040204" pitchFamily="34" charset="0"/>
                    <a:cs typeface="Tahoma" panose="020B0604030504040204" pitchFamily="34" charset="0"/>
                  </a:rPr>
                  <a:t>Excellent</a:t>
                </a:r>
              </a:p>
            </p:txBody>
          </p:sp>
          <p:sp>
            <p:nvSpPr>
              <p:cNvPr id="3" name="Oval 2">
                <a:extLst>
                  <a:ext uri="{FF2B5EF4-FFF2-40B4-BE49-F238E27FC236}">
                    <a16:creationId xmlns:a16="http://schemas.microsoft.com/office/drawing/2014/main" id="{A57769C9-0284-4AD3-9FC6-9C3B5AD08980}"/>
                  </a:ext>
                </a:extLst>
              </p:cNvPr>
              <p:cNvSpPr/>
              <p:nvPr/>
            </p:nvSpPr>
            <p:spPr>
              <a:xfrm>
                <a:off x="4782263" y="3357903"/>
                <a:ext cx="757191" cy="757191"/>
              </a:xfrm>
              <a:prstGeom prst="ellipse">
                <a:avLst/>
              </a:prstGeom>
              <a:solidFill>
                <a:schemeClr val="tx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err="1">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4" name="TextBox 3">
                <a:extLst>
                  <a:ext uri="{FF2B5EF4-FFF2-40B4-BE49-F238E27FC236}">
                    <a16:creationId xmlns:a16="http://schemas.microsoft.com/office/drawing/2014/main" id="{50CD085B-709A-319C-83EE-3B980AB86336}"/>
                  </a:ext>
                </a:extLst>
              </p:cNvPr>
              <p:cNvSpPr txBox="1"/>
              <p:nvPr/>
            </p:nvSpPr>
            <p:spPr>
              <a:xfrm>
                <a:off x="4945704" y="3580437"/>
                <a:ext cx="394907" cy="234286"/>
              </a:xfrm>
              <a:prstGeom prst="rect">
                <a:avLst/>
              </a:prstGeom>
              <a:noFill/>
            </p:spPr>
            <p:txBody>
              <a:bodyPr vert="horz" wrap="none" lIns="36000" tIns="36000" rIns="36000" bIns="36000" rtlCol="0">
                <a:spAutoFit/>
              </a:bodyPr>
              <a:lstStyle/>
              <a:p>
                <a:pPr algn="ctr">
                  <a:spcBef>
                    <a:spcPts val="600"/>
                  </a:spcBef>
                  <a:buClr>
                    <a:srgbClr val="002060"/>
                  </a:buClr>
                </a:pPr>
                <a:r>
                  <a:rPr lang="en-GB" sz="1050" b="1" dirty="0">
                    <a:solidFill>
                      <a:schemeClr val="bg1"/>
                    </a:solidFill>
                    <a:latin typeface="Tahoma" panose="020B0604030504040204" pitchFamily="34" charset="0"/>
                    <a:ea typeface="Tahoma" panose="020B0604030504040204" pitchFamily="34" charset="0"/>
                    <a:cs typeface="Tahoma" panose="020B0604030504040204" pitchFamily="34" charset="0"/>
                  </a:rPr>
                  <a:t>Base</a:t>
                </a:r>
              </a:p>
            </p:txBody>
          </p:sp>
        </p:grpSp>
      </p:grpSp>
      <p:sp>
        <p:nvSpPr>
          <p:cNvPr id="9" name="Call-out: Line with Accent Bar 8">
            <a:extLst>
              <a:ext uri="{FF2B5EF4-FFF2-40B4-BE49-F238E27FC236}">
                <a16:creationId xmlns:a16="http://schemas.microsoft.com/office/drawing/2014/main" id="{75FC2F4E-7CEE-F104-8AA3-D3BA49D981A2}"/>
              </a:ext>
            </a:extLst>
          </p:cNvPr>
          <p:cNvSpPr/>
          <p:nvPr/>
        </p:nvSpPr>
        <p:spPr>
          <a:xfrm>
            <a:off x="8177349" y="1271833"/>
            <a:ext cx="3692434" cy="5143491"/>
          </a:xfrm>
          <a:prstGeom prst="accentCallout1">
            <a:avLst>
              <a:gd name="adj1" fmla="val 18750"/>
              <a:gd name="adj2" fmla="val -8333"/>
              <a:gd name="adj3" fmla="val 34587"/>
              <a:gd name="adj4" fmla="val -32306"/>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2" name="Table 11">
            <a:extLst>
              <a:ext uri="{FF2B5EF4-FFF2-40B4-BE49-F238E27FC236}">
                <a16:creationId xmlns:a16="http://schemas.microsoft.com/office/drawing/2014/main" id="{D6079742-7837-2CEF-96DF-DD9894A564AA}"/>
              </a:ext>
            </a:extLst>
          </p:cNvPr>
          <p:cNvGraphicFramePr>
            <a:graphicFrameLocks noGrp="1"/>
          </p:cNvGraphicFramePr>
          <p:nvPr>
            <p:extLst>
              <p:ext uri="{D42A27DB-BD31-4B8C-83A1-F6EECF244321}">
                <p14:modId xmlns:p14="http://schemas.microsoft.com/office/powerpoint/2010/main" val="775448630"/>
              </p:ext>
            </p:extLst>
          </p:nvPr>
        </p:nvGraphicFramePr>
        <p:xfrm>
          <a:off x="8180896" y="1271833"/>
          <a:ext cx="3686132" cy="5143500"/>
        </p:xfrm>
        <a:graphic>
          <a:graphicData uri="http://schemas.openxmlformats.org/drawingml/2006/table">
            <a:tbl>
              <a:tblPr bandRow="1">
                <a:tableStyleId>{5C22544A-7EE6-4342-B048-85BDC9FD1C3A}</a:tableStyleId>
              </a:tblPr>
              <a:tblGrid>
                <a:gridCol w="788933">
                  <a:extLst>
                    <a:ext uri="{9D8B030D-6E8A-4147-A177-3AD203B41FA5}">
                      <a16:colId xmlns:a16="http://schemas.microsoft.com/office/drawing/2014/main" val="1820082917"/>
                    </a:ext>
                  </a:extLst>
                </a:gridCol>
                <a:gridCol w="2897199">
                  <a:extLst>
                    <a:ext uri="{9D8B030D-6E8A-4147-A177-3AD203B41FA5}">
                      <a16:colId xmlns:a16="http://schemas.microsoft.com/office/drawing/2014/main" val="3578663150"/>
                    </a:ext>
                  </a:extLst>
                </a:gridCol>
              </a:tblGrid>
              <a:tr h="370840">
                <a:tc>
                  <a:txBody>
                    <a:bodyPr/>
                    <a:lstStyle/>
                    <a:p>
                      <a:r>
                        <a:rPr lang="en-GB" sz="1000" b="1" i="1" dirty="0">
                          <a:solidFill>
                            <a:schemeClr val="bg1"/>
                          </a:solidFill>
                          <a:latin typeface="Tahoma" panose="020B0604030504040204" pitchFamily="34" charset="0"/>
                          <a:ea typeface="Tahoma" panose="020B0604030504040204" pitchFamily="34" charset="0"/>
                          <a:cs typeface="Tahoma" panose="020B0604030504040204" pitchFamily="34" charset="0"/>
                        </a:rPr>
                        <a:t>Purpose</a:t>
                      </a:r>
                    </a:p>
                  </a:txBody>
                  <a:tcPr>
                    <a:solidFill>
                      <a:schemeClr val="accent2"/>
                    </a:solidFill>
                  </a:tcPr>
                </a:tc>
                <a:tc>
                  <a:txBody>
                    <a:bodyPr/>
                    <a:lstStyle/>
                    <a:p>
                      <a:r>
                        <a:rPr lang="en-US" sz="1000" b="0" i="1" dirty="0">
                          <a:solidFill>
                            <a:schemeClr val="bg1"/>
                          </a:solidFill>
                          <a:latin typeface="Tahoma" panose="020B0604030504040204" pitchFamily="34" charset="0"/>
                          <a:ea typeface="Tahoma" panose="020B0604030504040204" pitchFamily="34" charset="0"/>
                          <a:cs typeface="Tahoma" panose="020B0604030504040204" pitchFamily="34" charset="0"/>
                        </a:rPr>
                        <a:t>Exceptional clarity and quality of written outputs is critical for our reputation and impact</a:t>
                      </a:r>
                    </a:p>
                    <a:p>
                      <a:endParaRPr lang="en-US" sz="1000" b="0" i="1" dirty="0">
                        <a:solidFill>
                          <a:schemeClr val="bg1"/>
                        </a:solidFill>
                        <a:latin typeface="Tahoma" panose="020B0604030504040204" pitchFamily="34" charset="0"/>
                        <a:ea typeface="Tahoma" panose="020B0604030504040204" pitchFamily="34" charset="0"/>
                        <a:cs typeface="Tahoma" panose="020B0604030504040204" pitchFamily="34" charset="0"/>
                      </a:endParaRPr>
                    </a:p>
                    <a:p>
                      <a:r>
                        <a:rPr lang="en-US" sz="1000" b="0" i="1" dirty="0">
                          <a:solidFill>
                            <a:schemeClr val="bg1"/>
                          </a:solidFill>
                          <a:latin typeface="Tahoma" panose="020B0604030504040204" pitchFamily="34" charset="0"/>
                          <a:ea typeface="Tahoma" panose="020B0604030504040204" pitchFamily="34" charset="0"/>
                          <a:cs typeface="Tahoma" panose="020B0604030504040204" pitchFamily="34" charset="0"/>
                        </a:rPr>
                        <a:t>We must also engage clients verbally in a way that builds rapport, gives them confidence, and showcases the quality of our thinking</a:t>
                      </a:r>
                      <a:endParaRPr lang="en-GB" sz="1000" b="0" i="1" dirty="0">
                        <a:solidFill>
                          <a:schemeClr val="bg1"/>
                        </a:solidFill>
                        <a:latin typeface="Tahoma" panose="020B0604030504040204" pitchFamily="34" charset="0"/>
                        <a:ea typeface="Tahoma" panose="020B0604030504040204" pitchFamily="34" charset="0"/>
                        <a:cs typeface="Tahoma" panose="020B0604030504040204" pitchFamily="34" charset="0"/>
                      </a:endParaRPr>
                    </a:p>
                  </a:txBody>
                  <a:tcPr>
                    <a:solidFill>
                      <a:schemeClr val="accent2"/>
                    </a:solidFill>
                  </a:tcPr>
                </a:tc>
                <a:extLst>
                  <a:ext uri="{0D108BD9-81ED-4DB2-BD59-A6C34878D82A}">
                    <a16:rowId xmlns:a16="http://schemas.microsoft.com/office/drawing/2014/main" val="1397927501"/>
                  </a:ext>
                </a:extLst>
              </a:tr>
              <a:tr h="370840">
                <a:tc>
                  <a:txBody>
                    <a:bodyPr/>
                    <a:lstStyle/>
                    <a:p>
                      <a:r>
                        <a:rPr lang="en-GB" sz="1000" b="1" dirty="0">
                          <a:solidFill>
                            <a:schemeClr val="bg1"/>
                          </a:solidFill>
                          <a:latin typeface="Tahoma" panose="020B0604030504040204" pitchFamily="34" charset="0"/>
                          <a:ea typeface="Tahoma" panose="020B0604030504040204" pitchFamily="34" charset="0"/>
                          <a:cs typeface="Tahoma" panose="020B0604030504040204" pitchFamily="34" charset="0"/>
                        </a:rPr>
                        <a:t>Base</a:t>
                      </a:r>
                    </a:p>
                  </a:txBody>
                  <a:tcPr>
                    <a:solidFill>
                      <a:srgbClr val="002060">
                        <a:alpha val="70000"/>
                      </a:srgbClr>
                    </a:solidFill>
                  </a:tcPr>
                </a:tc>
                <a:tc>
                  <a:txBody>
                    <a:bodyPr/>
                    <a:lstStyle/>
                    <a:p>
                      <a:pPr marL="171450" indent="-171450">
                        <a:spcBef>
                          <a:spcPts val="300"/>
                        </a:spcBef>
                        <a:buFont typeface="Arial" panose="020B0604020202020204" pitchFamily="34" charset="0"/>
                        <a:buChar char="•"/>
                      </a:pPr>
                      <a:r>
                        <a:rPr lang="en-GB" sz="1000" dirty="0">
                          <a:solidFill>
                            <a:schemeClr val="bg1"/>
                          </a:solidFill>
                          <a:latin typeface="Tahoma" panose="020B0604030504040204" pitchFamily="34" charset="0"/>
                          <a:ea typeface="Tahoma" panose="020B0604030504040204" pitchFamily="34" charset="0"/>
                          <a:cs typeface="Tahoma" panose="020B0604030504040204" pitchFamily="34" charset="0"/>
                        </a:rPr>
                        <a:t>Spots and corrects basic errors (spelling, grammar) before sharing work</a:t>
                      </a:r>
                    </a:p>
                    <a:p>
                      <a:pPr marL="171450" indent="-171450">
                        <a:spcBef>
                          <a:spcPts val="300"/>
                        </a:spcBef>
                        <a:buFont typeface="Arial" panose="020B0604020202020204" pitchFamily="34" charset="0"/>
                        <a:buChar char="•"/>
                      </a:pPr>
                      <a:r>
                        <a:rPr lang="en-GB" sz="1000" dirty="0">
                          <a:solidFill>
                            <a:schemeClr val="bg1"/>
                          </a:solidFill>
                          <a:latin typeface="Tahoma" panose="020B0604030504040204" pitchFamily="34" charset="0"/>
                          <a:ea typeface="Tahoma" panose="020B0604030504040204" pitchFamily="34" charset="0"/>
                          <a:cs typeface="Tahoma" panose="020B0604030504040204" pitchFamily="34" charset="0"/>
                        </a:rPr>
                        <a:t>Makes attempt to sense-check own outputs</a:t>
                      </a:r>
                    </a:p>
                    <a:p>
                      <a:pPr marL="171450" indent="-171450">
                        <a:spcBef>
                          <a:spcPts val="300"/>
                        </a:spcBef>
                        <a:buFont typeface="Arial" panose="020B0604020202020204" pitchFamily="34" charset="0"/>
                        <a:buChar char="•"/>
                      </a:pPr>
                      <a:r>
                        <a:rPr lang="en-GB" sz="1000" dirty="0">
                          <a:solidFill>
                            <a:schemeClr val="bg1"/>
                          </a:solidFill>
                          <a:latin typeface="Tahoma" panose="020B0604030504040204" pitchFamily="34" charset="0"/>
                          <a:ea typeface="Tahoma" panose="020B0604030504040204" pitchFamily="34" charset="0"/>
                          <a:cs typeface="Tahoma" panose="020B0604030504040204" pitchFamily="34" charset="0"/>
                        </a:rPr>
                        <a:t>With significant support, able to produce individual pieces of content</a:t>
                      </a:r>
                    </a:p>
                  </a:txBody>
                  <a:tcPr>
                    <a:solidFill>
                      <a:srgbClr val="002060">
                        <a:alpha val="70000"/>
                      </a:srgbClr>
                    </a:solidFill>
                  </a:tcPr>
                </a:tc>
                <a:extLst>
                  <a:ext uri="{0D108BD9-81ED-4DB2-BD59-A6C34878D82A}">
                    <a16:rowId xmlns:a16="http://schemas.microsoft.com/office/drawing/2014/main" val="2159826003"/>
                  </a:ext>
                </a:extLst>
              </a:tr>
              <a:tr h="370840">
                <a:tc>
                  <a:txBody>
                    <a:bodyPr/>
                    <a:lstStyle/>
                    <a:p>
                      <a:r>
                        <a:rPr lang="en-GB" sz="1000" b="1" dirty="0">
                          <a:latin typeface="Tahoma" panose="020B0604030504040204" pitchFamily="34" charset="0"/>
                          <a:ea typeface="Tahoma" panose="020B0604030504040204" pitchFamily="34" charset="0"/>
                          <a:cs typeface="Tahoma" panose="020B0604030504040204" pitchFamily="34" charset="0"/>
                        </a:rPr>
                        <a:t>Good</a:t>
                      </a:r>
                    </a:p>
                  </a:txBody>
                  <a:tcPr>
                    <a:solidFill>
                      <a:srgbClr val="CADBE8">
                        <a:alpha val="70000"/>
                      </a:srgbClr>
                    </a:solidFill>
                  </a:tcPr>
                </a:tc>
                <a:tc>
                  <a:txBody>
                    <a:bodyPr/>
                    <a:lstStyle/>
                    <a:p>
                      <a:pPr marL="171450" indent="-171450">
                        <a:spcBef>
                          <a:spcPts val="300"/>
                        </a:spcBef>
                        <a:buFont typeface="Arial" panose="020B0604020202020204" pitchFamily="34" charset="0"/>
                        <a:buChar char="•"/>
                      </a:pPr>
                      <a:r>
                        <a:rPr lang="en-GB" sz="1000" dirty="0">
                          <a:latin typeface="Tahoma" panose="020B0604030504040204" pitchFamily="34" charset="0"/>
                          <a:ea typeface="Tahoma" panose="020B0604030504040204" pitchFamily="34" charset="0"/>
                          <a:cs typeface="Tahoma" panose="020B0604030504040204" pitchFamily="34" charset="0"/>
                        </a:rPr>
                        <a:t>Able to structure a document in line with our guidelines (but not consistently)</a:t>
                      </a:r>
                    </a:p>
                    <a:p>
                      <a:pPr marL="171450" indent="-171450">
                        <a:spcBef>
                          <a:spcPts val="300"/>
                        </a:spcBef>
                        <a:buFont typeface="Arial" panose="020B0604020202020204" pitchFamily="34" charset="0"/>
                        <a:buChar char="•"/>
                      </a:pPr>
                      <a:r>
                        <a:rPr lang="en-GB" sz="1000" dirty="0">
                          <a:latin typeface="Tahoma" panose="020B0604030504040204" pitchFamily="34" charset="0"/>
                          <a:ea typeface="Tahoma" panose="020B0604030504040204" pitchFamily="34" charset="0"/>
                          <a:cs typeface="Tahoma" panose="020B0604030504040204" pitchFamily="34" charset="0"/>
                        </a:rPr>
                        <a:t>With limited support, creates grammatically accurate and engaging individual pieces of content</a:t>
                      </a:r>
                    </a:p>
                    <a:p>
                      <a:pPr marL="171450" indent="-171450">
                        <a:spcBef>
                          <a:spcPts val="300"/>
                        </a:spcBef>
                        <a:buFont typeface="Arial" panose="020B0604020202020204" pitchFamily="34" charset="0"/>
                        <a:buChar char="•"/>
                      </a:pPr>
                      <a:r>
                        <a:rPr lang="en-GB" sz="1000" dirty="0">
                          <a:latin typeface="Tahoma" panose="020B0604030504040204" pitchFamily="34" charset="0"/>
                          <a:ea typeface="Tahoma" panose="020B0604030504040204" pitchFamily="34" charset="0"/>
                          <a:cs typeface="Tahoma" panose="020B0604030504040204" pitchFamily="34" charset="0"/>
                        </a:rPr>
                        <a:t>Requires significant support to get to first draft of complete documents</a:t>
                      </a:r>
                    </a:p>
                  </a:txBody>
                  <a:tcPr>
                    <a:solidFill>
                      <a:srgbClr val="CADBE8">
                        <a:alpha val="70000"/>
                      </a:srgbClr>
                    </a:solidFill>
                  </a:tcPr>
                </a:tc>
                <a:extLst>
                  <a:ext uri="{0D108BD9-81ED-4DB2-BD59-A6C34878D82A}">
                    <a16:rowId xmlns:a16="http://schemas.microsoft.com/office/drawing/2014/main" val="1322804364"/>
                  </a:ext>
                </a:extLst>
              </a:tr>
              <a:tr h="370840">
                <a:tc>
                  <a:txBody>
                    <a:bodyPr/>
                    <a:lstStyle/>
                    <a:p>
                      <a:r>
                        <a:rPr lang="en-GB" sz="1000" b="1" dirty="0">
                          <a:latin typeface="Tahoma" panose="020B0604030504040204" pitchFamily="34" charset="0"/>
                          <a:ea typeface="Tahoma" panose="020B0604030504040204" pitchFamily="34" charset="0"/>
                          <a:cs typeface="Tahoma" panose="020B0604030504040204" pitchFamily="34" charset="0"/>
                        </a:rPr>
                        <a:t>Excellent</a:t>
                      </a:r>
                    </a:p>
                  </a:txBody>
                  <a:tcPr>
                    <a:solidFill>
                      <a:srgbClr val="C3C3C3">
                        <a:alpha val="70000"/>
                      </a:srgbClr>
                    </a:solidFill>
                  </a:tcPr>
                </a:tc>
                <a:tc>
                  <a:txBody>
                    <a:bodyPr/>
                    <a:lstStyle/>
                    <a:p>
                      <a:pPr marL="171450" indent="-171450">
                        <a:spcBef>
                          <a:spcPts val="300"/>
                        </a:spcBef>
                        <a:buFont typeface="Arial" panose="020B0604020202020204" pitchFamily="34" charset="0"/>
                        <a:buChar char="•"/>
                      </a:pPr>
                      <a:r>
                        <a:rPr lang="en-GB" sz="1000" dirty="0">
                          <a:latin typeface="Tahoma" panose="020B0604030504040204" pitchFamily="34" charset="0"/>
                          <a:ea typeface="Tahoma" panose="020B0604030504040204" pitchFamily="34" charset="0"/>
                          <a:cs typeface="Tahoma" panose="020B0604030504040204" pitchFamily="34" charset="0"/>
                        </a:rPr>
                        <a:t>Trusted to consistently structure documents in line with our guidelines</a:t>
                      </a:r>
                    </a:p>
                    <a:p>
                      <a:pPr marL="171450" indent="-171450">
                        <a:spcBef>
                          <a:spcPts val="300"/>
                        </a:spcBef>
                        <a:buFont typeface="Arial" panose="020B0604020202020204" pitchFamily="34" charset="0"/>
                        <a:buChar char="•"/>
                      </a:pPr>
                      <a:r>
                        <a:rPr lang="en-GB" sz="1000" dirty="0">
                          <a:latin typeface="Tahoma" panose="020B0604030504040204" pitchFamily="34" charset="0"/>
                          <a:ea typeface="Tahoma" panose="020B0604030504040204" pitchFamily="34" charset="0"/>
                          <a:cs typeface="Tahoma" panose="020B0604030504040204" pitchFamily="34" charset="0"/>
                        </a:rPr>
                        <a:t>Independently creates high quality individual pieces of content, from concept to finished</a:t>
                      </a:r>
                    </a:p>
                    <a:p>
                      <a:pPr marL="171450" indent="-171450">
                        <a:spcBef>
                          <a:spcPts val="300"/>
                        </a:spcBef>
                        <a:buFont typeface="Arial" panose="020B0604020202020204" pitchFamily="34" charset="0"/>
                        <a:buChar char="•"/>
                      </a:pPr>
                      <a:r>
                        <a:rPr lang="en-GB" sz="1000" dirty="0">
                          <a:latin typeface="Tahoma" panose="020B0604030504040204" pitchFamily="34" charset="0"/>
                          <a:ea typeface="Tahoma" panose="020B0604030504040204" pitchFamily="34" charset="0"/>
                          <a:cs typeface="Tahoma" panose="020B0604030504040204" pitchFamily="34" charset="0"/>
                        </a:rPr>
                        <a:t>Able to produce first draft complete outputs that can be finalised with limited support</a:t>
                      </a:r>
                    </a:p>
                  </a:txBody>
                  <a:tcPr>
                    <a:solidFill>
                      <a:srgbClr val="C3C3C3">
                        <a:alpha val="70000"/>
                      </a:srgbClr>
                    </a:solidFill>
                  </a:tcPr>
                </a:tc>
                <a:extLst>
                  <a:ext uri="{0D108BD9-81ED-4DB2-BD59-A6C34878D82A}">
                    <a16:rowId xmlns:a16="http://schemas.microsoft.com/office/drawing/2014/main" val="2592892005"/>
                  </a:ext>
                </a:extLst>
              </a:tr>
              <a:tr h="370840">
                <a:tc>
                  <a:txBody>
                    <a:bodyPr/>
                    <a:lstStyle/>
                    <a:p>
                      <a:r>
                        <a:rPr lang="en-GB" sz="1000" b="1" dirty="0">
                          <a:latin typeface="Tahoma" panose="020B0604030504040204" pitchFamily="34" charset="0"/>
                          <a:ea typeface="Tahoma" panose="020B0604030504040204" pitchFamily="34" charset="0"/>
                          <a:cs typeface="Tahoma" panose="020B0604030504040204" pitchFamily="34" charset="0"/>
                        </a:rPr>
                        <a:t>Master</a:t>
                      </a:r>
                    </a:p>
                  </a:txBody>
                  <a:tcPr>
                    <a:solidFill>
                      <a:srgbClr val="FFC000">
                        <a:alpha val="70000"/>
                      </a:srgbClr>
                    </a:solidFill>
                  </a:tcPr>
                </a:tc>
                <a:tc>
                  <a:txBody>
                    <a:bodyPr/>
                    <a:lstStyle/>
                    <a:p>
                      <a:pPr marL="171450" indent="-171450">
                        <a:spcBef>
                          <a:spcPts val="300"/>
                        </a:spcBef>
                        <a:buFont typeface="Arial" panose="020B0604020202020204" pitchFamily="34" charset="0"/>
                        <a:buChar char="•"/>
                      </a:pPr>
                      <a:r>
                        <a:rPr lang="en-GB" sz="1000" dirty="0">
                          <a:latin typeface="Tahoma" panose="020B0604030504040204" pitchFamily="34" charset="0"/>
                          <a:ea typeface="Tahoma" panose="020B0604030504040204" pitchFamily="34" charset="0"/>
                          <a:cs typeface="Tahoma" panose="020B0604030504040204" pitchFamily="34" charset="0"/>
                        </a:rPr>
                        <a:t>Sought out expert on writing &amp; communications</a:t>
                      </a:r>
                    </a:p>
                    <a:p>
                      <a:pPr marL="171450" indent="-171450">
                        <a:spcBef>
                          <a:spcPts val="300"/>
                        </a:spcBef>
                        <a:buFont typeface="Arial" panose="020B0604020202020204" pitchFamily="34" charset="0"/>
                        <a:buChar char="•"/>
                      </a:pPr>
                      <a:r>
                        <a:rPr lang="en-GB" sz="1000" dirty="0">
                          <a:latin typeface="Tahoma" panose="020B0604030504040204" pitchFamily="34" charset="0"/>
                          <a:ea typeface="Tahoma" panose="020B0604030504040204" pitchFamily="34" charset="0"/>
                          <a:cs typeface="Tahoma" panose="020B0604030504040204" pitchFamily="34" charset="0"/>
                        </a:rPr>
                        <a:t>Independently and consistently delivers compelling, error-free, complete documents ready for publication</a:t>
                      </a:r>
                    </a:p>
                  </a:txBody>
                  <a:tcPr>
                    <a:solidFill>
                      <a:srgbClr val="FFC000">
                        <a:alpha val="70000"/>
                      </a:srgbClr>
                    </a:solidFill>
                  </a:tcPr>
                </a:tc>
                <a:extLst>
                  <a:ext uri="{0D108BD9-81ED-4DB2-BD59-A6C34878D82A}">
                    <a16:rowId xmlns:a16="http://schemas.microsoft.com/office/drawing/2014/main" val="2675041241"/>
                  </a:ext>
                </a:extLst>
              </a:tr>
            </a:tbl>
          </a:graphicData>
        </a:graphic>
      </p:graphicFrame>
      <p:sp>
        <p:nvSpPr>
          <p:cNvPr id="13" name="Arrow: Pentagon 12">
            <a:extLst>
              <a:ext uri="{FF2B5EF4-FFF2-40B4-BE49-F238E27FC236}">
                <a16:creationId xmlns:a16="http://schemas.microsoft.com/office/drawing/2014/main" id="{257C5EF8-0A44-5E61-1E8A-A01EABB9F6E6}"/>
              </a:ext>
            </a:extLst>
          </p:cNvPr>
          <p:cNvSpPr/>
          <p:nvPr/>
        </p:nvSpPr>
        <p:spPr>
          <a:xfrm>
            <a:off x="478481" y="168965"/>
            <a:ext cx="1449710" cy="609175"/>
          </a:xfrm>
          <a:prstGeom prst="homePlate">
            <a:avLst/>
          </a:prstGeom>
          <a:solidFill>
            <a:schemeClr val="tx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2400" b="1" dirty="0">
                <a:latin typeface="Tahoma" panose="020B0604030504040204" pitchFamily="34" charset="0"/>
                <a:ea typeface="Tahoma" panose="020B0604030504040204" pitchFamily="34" charset="0"/>
                <a:cs typeface="Tahoma" panose="020B0604030504040204" pitchFamily="34" charset="0"/>
              </a:rPr>
              <a:t>What?</a:t>
            </a:r>
          </a:p>
        </p:txBody>
      </p:sp>
    </p:spTree>
    <p:extLst>
      <p:ext uri="{BB962C8B-B14F-4D97-AF65-F5344CB8AC3E}">
        <p14:creationId xmlns:p14="http://schemas.microsoft.com/office/powerpoint/2010/main" val="13129788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 name="Group 50">
            <a:extLst>
              <a:ext uri="{FF2B5EF4-FFF2-40B4-BE49-F238E27FC236}">
                <a16:creationId xmlns:a16="http://schemas.microsoft.com/office/drawing/2014/main" id="{96EEE190-EF72-4B04-866E-D468216249D4}"/>
              </a:ext>
            </a:extLst>
          </p:cNvPr>
          <p:cNvGrpSpPr/>
          <p:nvPr/>
        </p:nvGrpSpPr>
        <p:grpSpPr>
          <a:xfrm rot="1800000">
            <a:off x="3600127" y="1212528"/>
            <a:ext cx="5047937" cy="5047938"/>
            <a:chOff x="867873" y="1505119"/>
            <a:chExt cx="3600000" cy="3600000"/>
          </a:xfrm>
        </p:grpSpPr>
        <p:cxnSp>
          <p:nvCxnSpPr>
            <p:cNvPr id="52" name="Straight Connector 51">
              <a:extLst>
                <a:ext uri="{FF2B5EF4-FFF2-40B4-BE49-F238E27FC236}">
                  <a16:creationId xmlns:a16="http://schemas.microsoft.com/office/drawing/2014/main" id="{76117384-5A2F-4503-8E89-2BAB1E1DAC88}"/>
                </a:ext>
              </a:extLst>
            </p:cNvPr>
            <p:cNvCxnSpPr/>
            <p:nvPr/>
          </p:nvCxnSpPr>
          <p:spPr>
            <a:xfrm>
              <a:off x="2667873" y="1505119"/>
              <a:ext cx="0" cy="360000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01D3CA79-2200-47F5-954B-6CF4676BE574}"/>
                </a:ext>
              </a:extLst>
            </p:cNvPr>
            <p:cNvCxnSpPr>
              <a:cxnSpLocks/>
            </p:cNvCxnSpPr>
            <p:nvPr/>
          </p:nvCxnSpPr>
          <p:spPr>
            <a:xfrm flipH="1">
              <a:off x="867873" y="3305119"/>
              <a:ext cx="3600000"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4" name="Group 53">
            <a:extLst>
              <a:ext uri="{FF2B5EF4-FFF2-40B4-BE49-F238E27FC236}">
                <a16:creationId xmlns:a16="http://schemas.microsoft.com/office/drawing/2014/main" id="{6373265B-F302-4D17-93D2-19AF16E24CF0}"/>
              </a:ext>
            </a:extLst>
          </p:cNvPr>
          <p:cNvGrpSpPr/>
          <p:nvPr/>
        </p:nvGrpSpPr>
        <p:grpSpPr>
          <a:xfrm rot="3600000">
            <a:off x="3600126" y="1212529"/>
            <a:ext cx="5047938" cy="5047937"/>
            <a:chOff x="867873" y="1505119"/>
            <a:chExt cx="3600000" cy="3600000"/>
          </a:xfrm>
        </p:grpSpPr>
        <p:cxnSp>
          <p:nvCxnSpPr>
            <p:cNvPr id="55" name="Straight Connector 54">
              <a:extLst>
                <a:ext uri="{FF2B5EF4-FFF2-40B4-BE49-F238E27FC236}">
                  <a16:creationId xmlns:a16="http://schemas.microsoft.com/office/drawing/2014/main" id="{5FC4B304-ACCF-4E9C-9ECA-3E09B07069BE}"/>
                </a:ext>
              </a:extLst>
            </p:cNvPr>
            <p:cNvCxnSpPr/>
            <p:nvPr/>
          </p:nvCxnSpPr>
          <p:spPr>
            <a:xfrm>
              <a:off x="2667873" y="1505119"/>
              <a:ext cx="0" cy="360000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2C9AB347-F252-40A9-9E3B-BDC769DE4448}"/>
                </a:ext>
              </a:extLst>
            </p:cNvPr>
            <p:cNvCxnSpPr>
              <a:cxnSpLocks/>
            </p:cNvCxnSpPr>
            <p:nvPr/>
          </p:nvCxnSpPr>
          <p:spPr>
            <a:xfrm flipH="1">
              <a:off x="867873" y="3305119"/>
              <a:ext cx="3600000"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9" name="Oval 38">
            <a:extLst>
              <a:ext uri="{FF2B5EF4-FFF2-40B4-BE49-F238E27FC236}">
                <a16:creationId xmlns:a16="http://schemas.microsoft.com/office/drawing/2014/main" id="{C9264954-EACC-4946-8196-D044F26B20DD}"/>
              </a:ext>
            </a:extLst>
          </p:cNvPr>
          <p:cNvSpPr/>
          <p:nvPr/>
        </p:nvSpPr>
        <p:spPr>
          <a:xfrm>
            <a:off x="4231119" y="1843520"/>
            <a:ext cx="3785953" cy="3785954"/>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err="1">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8" name="Oval 37">
            <a:extLst>
              <a:ext uri="{FF2B5EF4-FFF2-40B4-BE49-F238E27FC236}">
                <a16:creationId xmlns:a16="http://schemas.microsoft.com/office/drawing/2014/main" id="{7FB36B26-2A82-4018-94CD-556C6368EF04}"/>
              </a:ext>
            </a:extLst>
          </p:cNvPr>
          <p:cNvSpPr/>
          <p:nvPr/>
        </p:nvSpPr>
        <p:spPr>
          <a:xfrm>
            <a:off x="4735913" y="2348314"/>
            <a:ext cx="2776365" cy="2776366"/>
          </a:xfrm>
          <a:prstGeom prst="ellipse">
            <a:avLst/>
          </a:prstGeom>
          <a:solidFill>
            <a:srgbClr val="C3C3C3"/>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err="1">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7" name="Oval 36">
            <a:extLst>
              <a:ext uri="{FF2B5EF4-FFF2-40B4-BE49-F238E27FC236}">
                <a16:creationId xmlns:a16="http://schemas.microsoft.com/office/drawing/2014/main" id="{285E4380-D3E9-4E92-A525-8CF7210B704A}"/>
              </a:ext>
            </a:extLst>
          </p:cNvPr>
          <p:cNvSpPr/>
          <p:nvPr/>
        </p:nvSpPr>
        <p:spPr>
          <a:xfrm>
            <a:off x="5240706" y="2853108"/>
            <a:ext cx="1766778" cy="1766778"/>
          </a:xfrm>
          <a:prstGeom prst="ellipse">
            <a:avLst/>
          </a:prstGeom>
          <a:solidFill>
            <a:srgbClr val="CADBE8"/>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err="1">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58" name="TextBox 57">
            <a:extLst>
              <a:ext uri="{FF2B5EF4-FFF2-40B4-BE49-F238E27FC236}">
                <a16:creationId xmlns:a16="http://schemas.microsoft.com/office/drawing/2014/main" id="{8D2D4EE9-A041-47F6-B951-B19566C2E09B}"/>
              </a:ext>
            </a:extLst>
          </p:cNvPr>
          <p:cNvSpPr txBox="1"/>
          <p:nvPr/>
        </p:nvSpPr>
        <p:spPr>
          <a:xfrm>
            <a:off x="8054640" y="1327467"/>
            <a:ext cx="1759136" cy="295198"/>
          </a:xfrm>
          <a:prstGeom prst="rect">
            <a:avLst/>
          </a:prstGeom>
          <a:noFill/>
        </p:spPr>
        <p:txBody>
          <a:bodyPr vert="horz" wrap="none" lIns="36000" tIns="36000" rIns="36000" bIns="36000" rtlCol="0">
            <a:noAutofit/>
          </a:bodyPr>
          <a:lstStyle/>
          <a:p>
            <a:pPr algn="ctr">
              <a:spcBef>
                <a:spcPts val="600"/>
              </a:spcBef>
              <a:buClr>
                <a:srgbClr val="002060"/>
              </a:buClr>
            </a:pPr>
            <a:r>
              <a:rPr lang="en-GB" sz="1200" b="1">
                <a:latin typeface="Tahoma" panose="020B0604030504040204" pitchFamily="34" charset="0"/>
                <a:ea typeface="Tahoma" panose="020B0604030504040204" pitchFamily="34" charset="0"/>
                <a:cs typeface="Tahoma" panose="020B0604030504040204" pitchFamily="34" charset="0"/>
              </a:rPr>
              <a:t>Delivering</a:t>
            </a:r>
            <a:br>
              <a:rPr lang="en-GB" sz="1200" b="1">
                <a:latin typeface="Tahoma" panose="020B0604030504040204" pitchFamily="34" charset="0"/>
                <a:ea typeface="Tahoma" panose="020B0604030504040204" pitchFamily="34" charset="0"/>
                <a:cs typeface="Tahoma" panose="020B0604030504040204" pitchFamily="34" charset="0"/>
              </a:rPr>
            </a:br>
            <a:r>
              <a:rPr lang="en-GB" sz="1200" b="1">
                <a:latin typeface="Tahoma" panose="020B0604030504040204" pitchFamily="34" charset="0"/>
                <a:ea typeface="Tahoma" panose="020B0604030504040204" pitchFamily="34" charset="0"/>
                <a:cs typeface="Tahoma" panose="020B0604030504040204" pitchFamily="34" charset="0"/>
              </a:rPr>
              <a:t>Client Value</a:t>
            </a:r>
          </a:p>
        </p:txBody>
      </p:sp>
      <p:sp>
        <p:nvSpPr>
          <p:cNvPr id="59" name="TextBox 58">
            <a:extLst>
              <a:ext uri="{FF2B5EF4-FFF2-40B4-BE49-F238E27FC236}">
                <a16:creationId xmlns:a16="http://schemas.microsoft.com/office/drawing/2014/main" id="{79D3F7AA-DFA6-4374-9D8C-1285E581D55A}"/>
              </a:ext>
            </a:extLst>
          </p:cNvPr>
          <p:cNvSpPr txBox="1"/>
          <p:nvPr/>
        </p:nvSpPr>
        <p:spPr>
          <a:xfrm>
            <a:off x="6250295" y="1378806"/>
            <a:ext cx="1004873" cy="295198"/>
          </a:xfrm>
          <a:prstGeom prst="rect">
            <a:avLst/>
          </a:prstGeom>
          <a:noFill/>
        </p:spPr>
        <p:txBody>
          <a:bodyPr vert="horz" wrap="none" lIns="36000" tIns="36000" rIns="36000" bIns="36000" rtlCol="0">
            <a:noAutofit/>
          </a:bodyPr>
          <a:lstStyle/>
          <a:p>
            <a:pPr algn="ctr">
              <a:spcBef>
                <a:spcPts val="600"/>
              </a:spcBef>
              <a:buClr>
                <a:srgbClr val="002060"/>
              </a:buClr>
            </a:pPr>
            <a:r>
              <a:rPr lang="en-GB" sz="1050">
                <a:latin typeface="Tahoma" panose="020B0604030504040204" pitchFamily="34" charset="0"/>
                <a:ea typeface="Tahoma" panose="020B0604030504040204" pitchFamily="34" charset="0"/>
                <a:cs typeface="Tahoma" panose="020B0604030504040204" pitchFamily="34" charset="0"/>
              </a:rPr>
              <a:t>Project</a:t>
            </a:r>
            <a:br>
              <a:rPr lang="en-GB" sz="1050">
                <a:latin typeface="Tahoma" panose="020B0604030504040204" pitchFamily="34" charset="0"/>
                <a:ea typeface="Tahoma" panose="020B0604030504040204" pitchFamily="34" charset="0"/>
                <a:cs typeface="Tahoma" panose="020B0604030504040204" pitchFamily="34" charset="0"/>
              </a:rPr>
            </a:br>
            <a:r>
              <a:rPr lang="en-GB" sz="1050">
                <a:latin typeface="Tahoma" panose="020B0604030504040204" pitchFamily="34" charset="0"/>
                <a:ea typeface="Tahoma" panose="020B0604030504040204" pitchFamily="34" charset="0"/>
                <a:cs typeface="Tahoma" panose="020B0604030504040204" pitchFamily="34" charset="0"/>
              </a:rPr>
              <a:t>Management</a:t>
            </a:r>
          </a:p>
        </p:txBody>
      </p:sp>
      <p:sp>
        <p:nvSpPr>
          <p:cNvPr id="60" name="TextBox 59">
            <a:extLst>
              <a:ext uri="{FF2B5EF4-FFF2-40B4-BE49-F238E27FC236}">
                <a16:creationId xmlns:a16="http://schemas.microsoft.com/office/drawing/2014/main" id="{083335EC-5A47-442D-ACF5-FB5702411F97}"/>
              </a:ext>
            </a:extLst>
          </p:cNvPr>
          <p:cNvSpPr txBox="1"/>
          <p:nvPr/>
        </p:nvSpPr>
        <p:spPr>
          <a:xfrm>
            <a:off x="7305044" y="1880819"/>
            <a:ext cx="1004873" cy="295198"/>
          </a:xfrm>
          <a:prstGeom prst="rect">
            <a:avLst/>
          </a:prstGeom>
          <a:noFill/>
        </p:spPr>
        <p:txBody>
          <a:bodyPr vert="horz" wrap="none" lIns="36000" tIns="36000" rIns="36000" bIns="36000" rtlCol="0">
            <a:noAutofit/>
          </a:bodyPr>
          <a:lstStyle/>
          <a:p>
            <a:pPr algn="ctr">
              <a:spcBef>
                <a:spcPts val="600"/>
              </a:spcBef>
              <a:buClr>
                <a:srgbClr val="002060"/>
              </a:buClr>
            </a:pPr>
            <a:r>
              <a:rPr lang="en-GB" sz="1050">
                <a:latin typeface="Tahoma" panose="020B0604030504040204" pitchFamily="34" charset="0"/>
                <a:ea typeface="Tahoma" panose="020B0604030504040204" pitchFamily="34" charset="0"/>
                <a:cs typeface="Tahoma" panose="020B0604030504040204" pitchFamily="34" charset="0"/>
              </a:rPr>
              <a:t>Complex</a:t>
            </a:r>
            <a:br>
              <a:rPr lang="en-GB" sz="1050">
                <a:latin typeface="Tahoma" panose="020B0604030504040204" pitchFamily="34" charset="0"/>
                <a:ea typeface="Tahoma" panose="020B0604030504040204" pitchFamily="34" charset="0"/>
                <a:cs typeface="Tahoma" panose="020B0604030504040204" pitchFamily="34" charset="0"/>
              </a:rPr>
            </a:br>
            <a:r>
              <a:rPr lang="en-GB" sz="1050">
                <a:latin typeface="Tahoma" panose="020B0604030504040204" pitchFamily="34" charset="0"/>
                <a:ea typeface="Tahoma" panose="020B0604030504040204" pitchFamily="34" charset="0"/>
                <a:cs typeface="Tahoma" panose="020B0604030504040204" pitchFamily="34" charset="0"/>
              </a:rPr>
              <a:t>Data Problems</a:t>
            </a:r>
          </a:p>
        </p:txBody>
      </p:sp>
      <p:sp>
        <p:nvSpPr>
          <p:cNvPr id="61" name="TextBox 60">
            <a:extLst>
              <a:ext uri="{FF2B5EF4-FFF2-40B4-BE49-F238E27FC236}">
                <a16:creationId xmlns:a16="http://schemas.microsoft.com/office/drawing/2014/main" id="{56793F4C-C047-4EFC-9C3E-10B27088F9BE}"/>
              </a:ext>
            </a:extLst>
          </p:cNvPr>
          <p:cNvSpPr txBox="1"/>
          <p:nvPr/>
        </p:nvSpPr>
        <p:spPr>
          <a:xfrm>
            <a:off x="8002316" y="2957906"/>
            <a:ext cx="1004873" cy="295198"/>
          </a:xfrm>
          <a:prstGeom prst="rect">
            <a:avLst/>
          </a:prstGeom>
          <a:noFill/>
        </p:spPr>
        <p:txBody>
          <a:bodyPr vert="horz" wrap="none" lIns="36000" tIns="36000" rIns="36000" bIns="36000" rtlCol="0">
            <a:noAutofit/>
          </a:bodyPr>
          <a:lstStyle/>
          <a:p>
            <a:pPr algn="ctr">
              <a:spcBef>
                <a:spcPts val="600"/>
              </a:spcBef>
              <a:buClr>
                <a:srgbClr val="002060"/>
              </a:buClr>
            </a:pPr>
            <a:r>
              <a:rPr lang="en-GB" sz="1050">
                <a:latin typeface="Tahoma" panose="020B0604030504040204" pitchFamily="34" charset="0"/>
                <a:ea typeface="Tahoma" panose="020B0604030504040204" pitchFamily="34" charset="0"/>
                <a:cs typeface="Tahoma" panose="020B0604030504040204" pitchFamily="34" charset="0"/>
              </a:rPr>
              <a:t>Writing &amp;</a:t>
            </a:r>
            <a:br>
              <a:rPr lang="en-GB" sz="1050">
                <a:latin typeface="Tahoma" panose="020B0604030504040204" pitchFamily="34" charset="0"/>
                <a:ea typeface="Tahoma" panose="020B0604030504040204" pitchFamily="34" charset="0"/>
                <a:cs typeface="Tahoma" panose="020B0604030504040204" pitchFamily="34" charset="0"/>
              </a:rPr>
            </a:br>
            <a:r>
              <a:rPr lang="en-GB" sz="1050">
                <a:latin typeface="Tahoma" panose="020B0604030504040204" pitchFamily="34" charset="0"/>
                <a:ea typeface="Tahoma" panose="020B0604030504040204" pitchFamily="34" charset="0"/>
                <a:cs typeface="Tahoma" panose="020B0604030504040204" pitchFamily="34" charset="0"/>
              </a:rPr>
              <a:t>Communications</a:t>
            </a:r>
          </a:p>
        </p:txBody>
      </p:sp>
      <p:grpSp>
        <p:nvGrpSpPr>
          <p:cNvPr id="11" name="Group 10">
            <a:extLst>
              <a:ext uri="{FF2B5EF4-FFF2-40B4-BE49-F238E27FC236}">
                <a16:creationId xmlns:a16="http://schemas.microsoft.com/office/drawing/2014/main" id="{A1142556-74D4-4F1B-B032-B35324EFE1A6}"/>
              </a:ext>
            </a:extLst>
          </p:cNvPr>
          <p:cNvGrpSpPr/>
          <p:nvPr/>
        </p:nvGrpSpPr>
        <p:grpSpPr>
          <a:xfrm>
            <a:off x="3600127" y="1212528"/>
            <a:ext cx="5047937" cy="5047938"/>
            <a:chOff x="867873" y="1505119"/>
            <a:chExt cx="3600000" cy="3600000"/>
          </a:xfrm>
        </p:grpSpPr>
        <p:cxnSp>
          <p:nvCxnSpPr>
            <p:cNvPr id="6" name="Straight Connector 5">
              <a:extLst>
                <a:ext uri="{FF2B5EF4-FFF2-40B4-BE49-F238E27FC236}">
                  <a16:creationId xmlns:a16="http://schemas.microsoft.com/office/drawing/2014/main" id="{722BB7FE-877E-43A0-A5B8-AA32C16BBF69}"/>
                </a:ext>
              </a:extLst>
            </p:cNvPr>
            <p:cNvCxnSpPr/>
            <p:nvPr/>
          </p:nvCxnSpPr>
          <p:spPr>
            <a:xfrm>
              <a:off x="2667873" y="1505119"/>
              <a:ext cx="0" cy="3600000"/>
            </a:xfrm>
            <a:prstGeom prst="line">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DBC8CF97-E7B5-468A-981B-E9B370AEF575}"/>
                </a:ext>
              </a:extLst>
            </p:cNvPr>
            <p:cNvCxnSpPr>
              <a:cxnSpLocks/>
            </p:cNvCxnSpPr>
            <p:nvPr/>
          </p:nvCxnSpPr>
          <p:spPr>
            <a:xfrm flipH="1">
              <a:off x="867873" y="3305119"/>
              <a:ext cx="3600000" cy="0"/>
            </a:xfrm>
            <a:prstGeom prst="line">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3" name="TextBox 62">
            <a:extLst>
              <a:ext uri="{FF2B5EF4-FFF2-40B4-BE49-F238E27FC236}">
                <a16:creationId xmlns:a16="http://schemas.microsoft.com/office/drawing/2014/main" id="{CB1A63BA-0109-4675-ABC7-EB367554C200}"/>
              </a:ext>
            </a:extLst>
          </p:cNvPr>
          <p:cNvSpPr txBox="1"/>
          <p:nvPr/>
        </p:nvSpPr>
        <p:spPr>
          <a:xfrm>
            <a:off x="8054640" y="5704817"/>
            <a:ext cx="1759136" cy="295198"/>
          </a:xfrm>
          <a:prstGeom prst="rect">
            <a:avLst/>
          </a:prstGeom>
          <a:noFill/>
        </p:spPr>
        <p:txBody>
          <a:bodyPr vert="horz" wrap="none" lIns="36000" tIns="36000" rIns="36000" bIns="36000" rtlCol="0">
            <a:noAutofit/>
          </a:bodyPr>
          <a:lstStyle/>
          <a:p>
            <a:pPr algn="ctr">
              <a:spcBef>
                <a:spcPts val="600"/>
              </a:spcBef>
              <a:buClr>
                <a:srgbClr val="002060"/>
              </a:buClr>
            </a:pPr>
            <a:r>
              <a:rPr lang="en-GB" sz="1200" b="1">
                <a:latin typeface="Tahoma" panose="020B0604030504040204" pitchFamily="34" charset="0"/>
                <a:ea typeface="Tahoma" panose="020B0604030504040204" pitchFamily="34" charset="0"/>
                <a:cs typeface="Tahoma" panose="020B0604030504040204" pitchFamily="34" charset="0"/>
              </a:rPr>
              <a:t>Business</a:t>
            </a:r>
            <a:br>
              <a:rPr lang="en-GB" sz="1200" b="1">
                <a:latin typeface="Tahoma" panose="020B0604030504040204" pitchFamily="34" charset="0"/>
                <a:ea typeface="Tahoma" panose="020B0604030504040204" pitchFamily="34" charset="0"/>
                <a:cs typeface="Tahoma" panose="020B0604030504040204" pitchFamily="34" charset="0"/>
              </a:rPr>
            </a:br>
            <a:r>
              <a:rPr lang="en-GB" sz="1200" b="1">
                <a:latin typeface="Tahoma" panose="020B0604030504040204" pitchFamily="34" charset="0"/>
                <a:ea typeface="Tahoma" panose="020B0604030504040204" pitchFamily="34" charset="0"/>
                <a:cs typeface="Tahoma" panose="020B0604030504040204" pitchFamily="34" charset="0"/>
              </a:rPr>
              <a:t>Operations</a:t>
            </a:r>
          </a:p>
        </p:txBody>
      </p:sp>
      <p:sp>
        <p:nvSpPr>
          <p:cNvPr id="64" name="TextBox 63">
            <a:extLst>
              <a:ext uri="{FF2B5EF4-FFF2-40B4-BE49-F238E27FC236}">
                <a16:creationId xmlns:a16="http://schemas.microsoft.com/office/drawing/2014/main" id="{30C7EFEB-2093-4315-B5A3-F98694A3E6F1}"/>
              </a:ext>
            </a:extLst>
          </p:cNvPr>
          <p:cNvSpPr txBox="1"/>
          <p:nvPr/>
        </p:nvSpPr>
        <p:spPr>
          <a:xfrm>
            <a:off x="2515790" y="5704817"/>
            <a:ext cx="1759136" cy="295198"/>
          </a:xfrm>
          <a:prstGeom prst="rect">
            <a:avLst/>
          </a:prstGeom>
          <a:noFill/>
        </p:spPr>
        <p:txBody>
          <a:bodyPr vert="horz" wrap="none" lIns="36000" tIns="36000" rIns="36000" bIns="36000" rtlCol="0">
            <a:noAutofit/>
          </a:bodyPr>
          <a:lstStyle/>
          <a:p>
            <a:pPr algn="ctr">
              <a:spcBef>
                <a:spcPts val="600"/>
              </a:spcBef>
              <a:buClr>
                <a:srgbClr val="002060"/>
              </a:buClr>
            </a:pPr>
            <a:r>
              <a:rPr lang="en-GB" sz="1200" b="1">
                <a:latin typeface="Tahoma" panose="020B0604030504040204" pitchFamily="34" charset="0"/>
                <a:ea typeface="Tahoma" panose="020B0604030504040204" pitchFamily="34" charset="0"/>
                <a:cs typeface="Tahoma" panose="020B0604030504040204" pitchFamily="34" charset="0"/>
              </a:rPr>
              <a:t>Client &amp; Team</a:t>
            </a:r>
            <a:br>
              <a:rPr lang="en-GB" sz="1200" b="1">
                <a:latin typeface="Tahoma" panose="020B0604030504040204" pitchFamily="34" charset="0"/>
                <a:ea typeface="Tahoma" panose="020B0604030504040204" pitchFamily="34" charset="0"/>
                <a:cs typeface="Tahoma" panose="020B0604030504040204" pitchFamily="34" charset="0"/>
              </a:rPr>
            </a:br>
            <a:r>
              <a:rPr lang="en-GB" sz="1200" b="1">
                <a:latin typeface="Tahoma" panose="020B0604030504040204" pitchFamily="34" charset="0"/>
                <a:ea typeface="Tahoma" panose="020B0604030504040204" pitchFamily="34" charset="0"/>
                <a:cs typeface="Tahoma" panose="020B0604030504040204" pitchFamily="34" charset="0"/>
              </a:rPr>
              <a:t>Interactions</a:t>
            </a:r>
          </a:p>
        </p:txBody>
      </p:sp>
      <p:sp>
        <p:nvSpPr>
          <p:cNvPr id="65" name="TextBox 64">
            <a:extLst>
              <a:ext uri="{FF2B5EF4-FFF2-40B4-BE49-F238E27FC236}">
                <a16:creationId xmlns:a16="http://schemas.microsoft.com/office/drawing/2014/main" id="{BB065A5A-EE8E-441A-9D69-DBEB04037FC3}"/>
              </a:ext>
            </a:extLst>
          </p:cNvPr>
          <p:cNvSpPr txBox="1"/>
          <p:nvPr/>
        </p:nvSpPr>
        <p:spPr>
          <a:xfrm>
            <a:off x="2515790" y="1327467"/>
            <a:ext cx="1759136" cy="295198"/>
          </a:xfrm>
          <a:prstGeom prst="rect">
            <a:avLst/>
          </a:prstGeom>
          <a:noFill/>
        </p:spPr>
        <p:txBody>
          <a:bodyPr vert="horz" wrap="none" lIns="36000" tIns="36000" rIns="36000" bIns="36000" rtlCol="0">
            <a:noAutofit/>
          </a:bodyPr>
          <a:lstStyle/>
          <a:p>
            <a:pPr algn="ctr">
              <a:spcBef>
                <a:spcPts val="600"/>
              </a:spcBef>
              <a:buClr>
                <a:srgbClr val="002060"/>
              </a:buClr>
            </a:pPr>
            <a:r>
              <a:rPr lang="en-GB" sz="1200" b="1">
                <a:latin typeface="Tahoma" panose="020B0604030504040204" pitchFamily="34" charset="0"/>
                <a:ea typeface="Tahoma" panose="020B0604030504040204" pitchFamily="34" charset="0"/>
                <a:cs typeface="Tahoma" panose="020B0604030504040204" pitchFamily="34" charset="0"/>
              </a:rPr>
              <a:t>Business</a:t>
            </a:r>
            <a:br>
              <a:rPr lang="en-GB" sz="1200" b="1">
                <a:latin typeface="Tahoma" panose="020B0604030504040204" pitchFamily="34" charset="0"/>
                <a:ea typeface="Tahoma" panose="020B0604030504040204" pitchFamily="34" charset="0"/>
                <a:cs typeface="Tahoma" panose="020B0604030504040204" pitchFamily="34" charset="0"/>
              </a:rPr>
            </a:br>
            <a:r>
              <a:rPr lang="en-GB" sz="1200" b="1">
                <a:latin typeface="Tahoma" panose="020B0604030504040204" pitchFamily="34" charset="0"/>
                <a:ea typeface="Tahoma" panose="020B0604030504040204" pitchFamily="34" charset="0"/>
                <a:cs typeface="Tahoma" panose="020B0604030504040204" pitchFamily="34" charset="0"/>
              </a:rPr>
              <a:t>Development</a:t>
            </a:r>
          </a:p>
        </p:txBody>
      </p:sp>
      <p:sp>
        <p:nvSpPr>
          <p:cNvPr id="66" name="TextBox 65">
            <a:extLst>
              <a:ext uri="{FF2B5EF4-FFF2-40B4-BE49-F238E27FC236}">
                <a16:creationId xmlns:a16="http://schemas.microsoft.com/office/drawing/2014/main" id="{8A637F97-797E-4DB7-951E-3189ABC78C0F}"/>
              </a:ext>
            </a:extLst>
          </p:cNvPr>
          <p:cNvSpPr txBox="1"/>
          <p:nvPr/>
        </p:nvSpPr>
        <p:spPr>
          <a:xfrm>
            <a:off x="8005863" y="4155689"/>
            <a:ext cx="1004873" cy="295198"/>
          </a:xfrm>
          <a:prstGeom prst="rect">
            <a:avLst/>
          </a:prstGeom>
          <a:noFill/>
        </p:spPr>
        <p:txBody>
          <a:bodyPr vert="horz" wrap="none" lIns="36000" tIns="36000" rIns="36000" bIns="36000" rtlCol="0">
            <a:noAutofit/>
          </a:bodyPr>
          <a:lstStyle>
            <a:defPPr>
              <a:defRPr lang="en-US"/>
            </a:defPPr>
            <a:lvl1pPr algn="ctr">
              <a:spcBef>
                <a:spcPts val="600"/>
              </a:spcBef>
              <a:spcAft>
                <a:spcPts val="0"/>
              </a:spcAft>
              <a:buClr>
                <a:srgbClr val="002060"/>
              </a:buClr>
              <a:defRPr sz="1050"/>
            </a:lvl1pPr>
          </a:lstStyle>
          <a:p>
            <a:r>
              <a:rPr lang="en-GB">
                <a:latin typeface="Tahoma" panose="020B0604030504040204" pitchFamily="34" charset="0"/>
                <a:ea typeface="Tahoma" panose="020B0604030504040204" pitchFamily="34" charset="0"/>
                <a:cs typeface="Tahoma" panose="020B0604030504040204" pitchFamily="34" charset="0"/>
              </a:rPr>
              <a:t>Resourcing</a:t>
            </a:r>
          </a:p>
        </p:txBody>
      </p:sp>
      <p:sp>
        <p:nvSpPr>
          <p:cNvPr id="67" name="TextBox 66">
            <a:extLst>
              <a:ext uri="{FF2B5EF4-FFF2-40B4-BE49-F238E27FC236}">
                <a16:creationId xmlns:a16="http://schemas.microsoft.com/office/drawing/2014/main" id="{815A1B3D-42EF-48D9-A635-142884D0800E}"/>
              </a:ext>
            </a:extLst>
          </p:cNvPr>
          <p:cNvSpPr txBox="1"/>
          <p:nvPr/>
        </p:nvSpPr>
        <p:spPr>
          <a:xfrm>
            <a:off x="7551979" y="5391318"/>
            <a:ext cx="1004873" cy="295198"/>
          </a:xfrm>
          <a:prstGeom prst="rect">
            <a:avLst/>
          </a:prstGeom>
          <a:noFill/>
        </p:spPr>
        <p:txBody>
          <a:bodyPr vert="horz" wrap="none" lIns="36000" tIns="36000" rIns="36000" bIns="36000" rtlCol="0">
            <a:noAutofit/>
          </a:bodyPr>
          <a:lstStyle>
            <a:defPPr>
              <a:defRPr lang="en-US"/>
            </a:defPPr>
            <a:lvl1pPr algn="ctr">
              <a:spcBef>
                <a:spcPts val="600"/>
              </a:spcBef>
              <a:spcAft>
                <a:spcPts val="0"/>
              </a:spcAft>
              <a:buClr>
                <a:srgbClr val="002060"/>
              </a:buClr>
              <a:defRPr sz="1050"/>
            </a:lvl1pPr>
          </a:lstStyle>
          <a:p>
            <a:r>
              <a:rPr lang="en-GB">
                <a:latin typeface="Tahoma" panose="020B0604030504040204" pitchFamily="34" charset="0"/>
                <a:ea typeface="Tahoma" panose="020B0604030504040204" pitchFamily="34" charset="0"/>
                <a:cs typeface="Tahoma" panose="020B0604030504040204" pitchFamily="34" charset="0"/>
              </a:rPr>
              <a:t>Recruitment</a:t>
            </a:r>
          </a:p>
        </p:txBody>
      </p:sp>
      <p:sp>
        <p:nvSpPr>
          <p:cNvPr id="68" name="TextBox 67">
            <a:extLst>
              <a:ext uri="{FF2B5EF4-FFF2-40B4-BE49-F238E27FC236}">
                <a16:creationId xmlns:a16="http://schemas.microsoft.com/office/drawing/2014/main" id="{218228BD-8297-41BB-BA3E-D34EEA253D0B}"/>
              </a:ext>
            </a:extLst>
          </p:cNvPr>
          <p:cNvSpPr txBox="1"/>
          <p:nvPr/>
        </p:nvSpPr>
        <p:spPr>
          <a:xfrm>
            <a:off x="6195344" y="5893628"/>
            <a:ext cx="1004873" cy="295198"/>
          </a:xfrm>
          <a:prstGeom prst="rect">
            <a:avLst/>
          </a:prstGeom>
          <a:noFill/>
        </p:spPr>
        <p:txBody>
          <a:bodyPr vert="horz" wrap="none" lIns="36000" tIns="36000" rIns="36000" bIns="36000" rtlCol="0">
            <a:noAutofit/>
          </a:bodyPr>
          <a:lstStyle>
            <a:defPPr>
              <a:defRPr lang="en-US"/>
            </a:defPPr>
            <a:lvl1pPr algn="ctr">
              <a:spcBef>
                <a:spcPts val="600"/>
              </a:spcBef>
              <a:spcAft>
                <a:spcPts val="0"/>
              </a:spcAft>
              <a:buClr>
                <a:srgbClr val="002060"/>
              </a:buClr>
              <a:defRPr sz="1050"/>
            </a:lvl1pPr>
          </a:lstStyle>
          <a:p>
            <a:r>
              <a:rPr lang="en-GB">
                <a:latin typeface="Tahoma" panose="020B0604030504040204" pitchFamily="34" charset="0"/>
                <a:ea typeface="Tahoma" panose="020B0604030504040204" pitchFamily="34" charset="0"/>
                <a:cs typeface="Tahoma" panose="020B0604030504040204" pitchFamily="34" charset="0"/>
              </a:rPr>
              <a:t>Reporting</a:t>
            </a:r>
          </a:p>
        </p:txBody>
      </p:sp>
      <p:sp>
        <p:nvSpPr>
          <p:cNvPr id="69" name="TextBox 68">
            <a:extLst>
              <a:ext uri="{FF2B5EF4-FFF2-40B4-BE49-F238E27FC236}">
                <a16:creationId xmlns:a16="http://schemas.microsoft.com/office/drawing/2014/main" id="{DF8DFF1B-D98F-4BE2-BC66-2827BEEC5843}"/>
              </a:ext>
            </a:extLst>
          </p:cNvPr>
          <p:cNvSpPr txBox="1"/>
          <p:nvPr/>
        </p:nvSpPr>
        <p:spPr>
          <a:xfrm>
            <a:off x="4928011" y="5853461"/>
            <a:ext cx="1004873" cy="295198"/>
          </a:xfrm>
          <a:prstGeom prst="rect">
            <a:avLst/>
          </a:prstGeom>
          <a:noFill/>
        </p:spPr>
        <p:txBody>
          <a:bodyPr vert="horz" wrap="none" lIns="36000" tIns="36000" rIns="36000" bIns="36000" rtlCol="0">
            <a:noAutofit/>
          </a:bodyPr>
          <a:lstStyle>
            <a:defPPr>
              <a:defRPr lang="en-US"/>
            </a:defPPr>
            <a:lvl1pPr algn="ctr">
              <a:spcBef>
                <a:spcPts val="600"/>
              </a:spcBef>
              <a:spcAft>
                <a:spcPts val="0"/>
              </a:spcAft>
              <a:buClr>
                <a:srgbClr val="002060"/>
              </a:buClr>
              <a:defRPr sz="1050"/>
            </a:lvl1pPr>
          </a:lstStyle>
          <a:p>
            <a:r>
              <a:rPr lang="en-GB">
                <a:latin typeface="Tahoma" panose="020B0604030504040204" pitchFamily="34" charset="0"/>
                <a:ea typeface="Tahoma" panose="020B0604030504040204" pitchFamily="34" charset="0"/>
                <a:cs typeface="Tahoma" panose="020B0604030504040204" pitchFamily="34" charset="0"/>
              </a:rPr>
              <a:t>Client</a:t>
            </a:r>
            <a:br>
              <a:rPr lang="en-GB">
                <a:latin typeface="Tahoma" panose="020B0604030504040204" pitchFamily="34" charset="0"/>
                <a:ea typeface="Tahoma" panose="020B0604030504040204" pitchFamily="34" charset="0"/>
                <a:cs typeface="Tahoma" panose="020B0604030504040204" pitchFamily="34" charset="0"/>
              </a:rPr>
            </a:br>
            <a:r>
              <a:rPr lang="en-GB">
                <a:latin typeface="Tahoma" panose="020B0604030504040204" pitchFamily="34" charset="0"/>
                <a:ea typeface="Tahoma" panose="020B0604030504040204" pitchFamily="34" charset="0"/>
                <a:cs typeface="Tahoma" panose="020B0604030504040204" pitchFamily="34" charset="0"/>
              </a:rPr>
              <a:t>Relationships</a:t>
            </a:r>
          </a:p>
        </p:txBody>
      </p:sp>
      <p:sp>
        <p:nvSpPr>
          <p:cNvPr id="70" name="TextBox 69">
            <a:extLst>
              <a:ext uri="{FF2B5EF4-FFF2-40B4-BE49-F238E27FC236}">
                <a16:creationId xmlns:a16="http://schemas.microsoft.com/office/drawing/2014/main" id="{54F93047-440C-4AEE-A295-1BB794416A7B}"/>
              </a:ext>
            </a:extLst>
          </p:cNvPr>
          <p:cNvSpPr txBox="1"/>
          <p:nvPr/>
        </p:nvSpPr>
        <p:spPr>
          <a:xfrm>
            <a:off x="3857237" y="5208076"/>
            <a:ext cx="1004873" cy="295198"/>
          </a:xfrm>
          <a:prstGeom prst="rect">
            <a:avLst/>
          </a:prstGeom>
          <a:noFill/>
        </p:spPr>
        <p:txBody>
          <a:bodyPr vert="horz" wrap="none" lIns="36000" tIns="36000" rIns="36000" bIns="36000" rtlCol="0">
            <a:noAutofit/>
          </a:bodyPr>
          <a:lstStyle>
            <a:defPPr>
              <a:defRPr lang="en-US"/>
            </a:defPPr>
            <a:lvl1pPr algn="ctr">
              <a:spcBef>
                <a:spcPts val="600"/>
              </a:spcBef>
              <a:spcAft>
                <a:spcPts val="0"/>
              </a:spcAft>
              <a:buClr>
                <a:srgbClr val="002060"/>
              </a:buClr>
              <a:defRPr sz="1050"/>
            </a:lvl1pPr>
          </a:lstStyle>
          <a:p>
            <a:r>
              <a:rPr lang="en-GB">
                <a:latin typeface="Tahoma" panose="020B0604030504040204" pitchFamily="34" charset="0"/>
                <a:ea typeface="Tahoma" panose="020B0604030504040204" pitchFamily="34" charset="0"/>
                <a:cs typeface="Tahoma" panose="020B0604030504040204" pitchFamily="34" charset="0"/>
              </a:rPr>
              <a:t>Personal</a:t>
            </a:r>
            <a:br>
              <a:rPr lang="en-GB">
                <a:latin typeface="Tahoma" panose="020B0604030504040204" pitchFamily="34" charset="0"/>
                <a:ea typeface="Tahoma" panose="020B0604030504040204" pitchFamily="34" charset="0"/>
                <a:cs typeface="Tahoma" panose="020B0604030504040204" pitchFamily="34" charset="0"/>
              </a:rPr>
            </a:br>
            <a:r>
              <a:rPr lang="en-GB">
                <a:latin typeface="Tahoma" panose="020B0604030504040204" pitchFamily="34" charset="0"/>
                <a:ea typeface="Tahoma" panose="020B0604030504040204" pitchFamily="34" charset="0"/>
                <a:cs typeface="Tahoma" panose="020B0604030504040204" pitchFamily="34" charset="0"/>
              </a:rPr>
              <a:t>Attitude</a:t>
            </a:r>
          </a:p>
        </p:txBody>
      </p:sp>
      <p:sp>
        <p:nvSpPr>
          <p:cNvPr id="71" name="TextBox 70">
            <a:extLst>
              <a:ext uri="{FF2B5EF4-FFF2-40B4-BE49-F238E27FC236}">
                <a16:creationId xmlns:a16="http://schemas.microsoft.com/office/drawing/2014/main" id="{89A672A7-D513-4A7F-B964-130A988DE728}"/>
              </a:ext>
            </a:extLst>
          </p:cNvPr>
          <p:cNvSpPr txBox="1"/>
          <p:nvPr/>
        </p:nvSpPr>
        <p:spPr>
          <a:xfrm>
            <a:off x="3203624" y="4121519"/>
            <a:ext cx="1004873" cy="295198"/>
          </a:xfrm>
          <a:prstGeom prst="rect">
            <a:avLst/>
          </a:prstGeom>
          <a:noFill/>
        </p:spPr>
        <p:txBody>
          <a:bodyPr vert="horz" wrap="none" lIns="36000" tIns="36000" rIns="36000" bIns="36000" rtlCol="0">
            <a:noAutofit/>
          </a:bodyPr>
          <a:lstStyle>
            <a:defPPr>
              <a:defRPr lang="en-US"/>
            </a:defPPr>
            <a:lvl1pPr algn="ctr">
              <a:spcBef>
                <a:spcPts val="600"/>
              </a:spcBef>
              <a:spcAft>
                <a:spcPts val="0"/>
              </a:spcAft>
              <a:buClr>
                <a:srgbClr val="002060"/>
              </a:buClr>
              <a:defRPr sz="1050"/>
            </a:lvl1pPr>
          </a:lstStyle>
          <a:p>
            <a:r>
              <a:rPr lang="en-GB">
                <a:latin typeface="Tahoma" panose="020B0604030504040204" pitchFamily="34" charset="0"/>
                <a:ea typeface="Tahoma" panose="020B0604030504040204" pitchFamily="34" charset="0"/>
                <a:cs typeface="Tahoma" panose="020B0604030504040204" pitchFamily="34" charset="0"/>
              </a:rPr>
              <a:t>Leadership</a:t>
            </a:r>
          </a:p>
        </p:txBody>
      </p:sp>
      <p:sp>
        <p:nvSpPr>
          <p:cNvPr id="72" name="TextBox 71">
            <a:extLst>
              <a:ext uri="{FF2B5EF4-FFF2-40B4-BE49-F238E27FC236}">
                <a16:creationId xmlns:a16="http://schemas.microsoft.com/office/drawing/2014/main" id="{162F970B-D043-41DE-AEEB-82279F0574B9}"/>
              </a:ext>
            </a:extLst>
          </p:cNvPr>
          <p:cNvSpPr txBox="1"/>
          <p:nvPr/>
        </p:nvSpPr>
        <p:spPr>
          <a:xfrm>
            <a:off x="4996170" y="1274328"/>
            <a:ext cx="1004873" cy="295198"/>
          </a:xfrm>
          <a:prstGeom prst="rect">
            <a:avLst/>
          </a:prstGeom>
          <a:noFill/>
        </p:spPr>
        <p:txBody>
          <a:bodyPr vert="horz" wrap="none" lIns="36000" tIns="36000" rIns="36000" bIns="36000" rtlCol="0">
            <a:noAutofit/>
          </a:bodyPr>
          <a:lstStyle>
            <a:defPPr>
              <a:defRPr lang="en-US"/>
            </a:defPPr>
            <a:lvl1pPr algn="ctr">
              <a:spcBef>
                <a:spcPts val="600"/>
              </a:spcBef>
              <a:spcAft>
                <a:spcPts val="0"/>
              </a:spcAft>
              <a:buClr>
                <a:srgbClr val="002060"/>
              </a:buClr>
              <a:defRPr sz="1050"/>
            </a:lvl1pPr>
          </a:lstStyle>
          <a:p>
            <a:r>
              <a:rPr lang="en-GB">
                <a:latin typeface="Tahoma" panose="020B0604030504040204" pitchFamily="34" charset="0"/>
                <a:ea typeface="Tahoma" panose="020B0604030504040204" pitchFamily="34" charset="0"/>
                <a:cs typeface="Tahoma" panose="020B0604030504040204" pitchFamily="34" charset="0"/>
              </a:rPr>
              <a:t>Firm</a:t>
            </a:r>
            <a:br>
              <a:rPr lang="en-GB">
                <a:latin typeface="Tahoma" panose="020B0604030504040204" pitchFamily="34" charset="0"/>
                <a:ea typeface="Tahoma" panose="020B0604030504040204" pitchFamily="34" charset="0"/>
                <a:cs typeface="Tahoma" panose="020B0604030504040204" pitchFamily="34" charset="0"/>
              </a:rPr>
            </a:br>
            <a:r>
              <a:rPr lang="en-GB">
                <a:latin typeface="Tahoma" panose="020B0604030504040204" pitchFamily="34" charset="0"/>
                <a:ea typeface="Tahoma" panose="020B0604030504040204" pitchFamily="34" charset="0"/>
                <a:cs typeface="Tahoma" panose="020B0604030504040204" pitchFamily="34" charset="0"/>
              </a:rPr>
              <a:t>Advocacy</a:t>
            </a:r>
          </a:p>
        </p:txBody>
      </p:sp>
      <p:sp>
        <p:nvSpPr>
          <p:cNvPr id="73" name="TextBox 72">
            <a:extLst>
              <a:ext uri="{FF2B5EF4-FFF2-40B4-BE49-F238E27FC236}">
                <a16:creationId xmlns:a16="http://schemas.microsoft.com/office/drawing/2014/main" id="{75B60A75-6280-43F3-AB88-557EC4903E2E}"/>
              </a:ext>
            </a:extLst>
          </p:cNvPr>
          <p:cNvSpPr txBox="1"/>
          <p:nvPr/>
        </p:nvSpPr>
        <p:spPr>
          <a:xfrm>
            <a:off x="3865374" y="1827541"/>
            <a:ext cx="1004873" cy="295198"/>
          </a:xfrm>
          <a:prstGeom prst="rect">
            <a:avLst/>
          </a:prstGeom>
          <a:noFill/>
        </p:spPr>
        <p:txBody>
          <a:bodyPr vert="horz" wrap="none" lIns="36000" tIns="36000" rIns="36000" bIns="36000" rtlCol="0">
            <a:noAutofit/>
          </a:bodyPr>
          <a:lstStyle>
            <a:defPPr>
              <a:defRPr lang="en-US"/>
            </a:defPPr>
            <a:lvl1pPr algn="ctr">
              <a:spcBef>
                <a:spcPts val="600"/>
              </a:spcBef>
              <a:spcAft>
                <a:spcPts val="0"/>
              </a:spcAft>
              <a:buClr>
                <a:srgbClr val="002060"/>
              </a:buClr>
              <a:defRPr sz="1050"/>
            </a:lvl1pPr>
          </a:lstStyle>
          <a:p>
            <a:r>
              <a:rPr lang="en-GB">
                <a:latin typeface="Tahoma" panose="020B0604030504040204" pitchFamily="34" charset="0"/>
                <a:ea typeface="Tahoma" panose="020B0604030504040204" pitchFamily="34" charset="0"/>
                <a:cs typeface="Tahoma" panose="020B0604030504040204" pitchFamily="34" charset="0"/>
              </a:rPr>
              <a:t>Long-term</a:t>
            </a:r>
            <a:br>
              <a:rPr lang="en-GB">
                <a:latin typeface="Tahoma" panose="020B0604030504040204" pitchFamily="34" charset="0"/>
                <a:ea typeface="Tahoma" panose="020B0604030504040204" pitchFamily="34" charset="0"/>
                <a:cs typeface="Tahoma" panose="020B0604030504040204" pitchFamily="34" charset="0"/>
              </a:rPr>
            </a:br>
            <a:r>
              <a:rPr lang="en-GB">
                <a:latin typeface="Tahoma" panose="020B0604030504040204" pitchFamily="34" charset="0"/>
                <a:ea typeface="Tahoma" panose="020B0604030504040204" pitchFamily="34" charset="0"/>
                <a:cs typeface="Tahoma" panose="020B0604030504040204" pitchFamily="34" charset="0"/>
              </a:rPr>
              <a:t>Relationships</a:t>
            </a:r>
          </a:p>
        </p:txBody>
      </p:sp>
      <p:sp>
        <p:nvSpPr>
          <p:cNvPr id="74" name="TextBox 73">
            <a:extLst>
              <a:ext uri="{FF2B5EF4-FFF2-40B4-BE49-F238E27FC236}">
                <a16:creationId xmlns:a16="http://schemas.microsoft.com/office/drawing/2014/main" id="{CCE5F488-A8E0-474A-B61F-4478A9084BC1}"/>
              </a:ext>
            </a:extLst>
          </p:cNvPr>
          <p:cNvSpPr txBox="1"/>
          <p:nvPr/>
        </p:nvSpPr>
        <p:spPr>
          <a:xfrm>
            <a:off x="3116075" y="2852006"/>
            <a:ext cx="1004873" cy="295198"/>
          </a:xfrm>
          <a:prstGeom prst="rect">
            <a:avLst/>
          </a:prstGeom>
          <a:noFill/>
        </p:spPr>
        <p:txBody>
          <a:bodyPr vert="horz" wrap="none" lIns="36000" tIns="36000" rIns="36000" bIns="36000" rtlCol="0">
            <a:noAutofit/>
          </a:bodyPr>
          <a:lstStyle>
            <a:defPPr>
              <a:defRPr lang="en-US"/>
            </a:defPPr>
            <a:lvl1pPr algn="ctr">
              <a:spcBef>
                <a:spcPts val="600"/>
              </a:spcBef>
              <a:spcAft>
                <a:spcPts val="0"/>
              </a:spcAft>
              <a:buClr>
                <a:srgbClr val="002060"/>
              </a:buClr>
              <a:defRPr sz="1050"/>
            </a:lvl1pPr>
          </a:lstStyle>
          <a:p>
            <a:r>
              <a:rPr lang="en-GB">
                <a:latin typeface="Tahoma" panose="020B0604030504040204" pitchFamily="34" charset="0"/>
                <a:ea typeface="Tahoma" panose="020B0604030504040204" pitchFamily="34" charset="0"/>
                <a:cs typeface="Tahoma" panose="020B0604030504040204" pitchFamily="34" charset="0"/>
              </a:rPr>
              <a:t>New Client </a:t>
            </a:r>
            <a:br>
              <a:rPr lang="en-GB">
                <a:latin typeface="Tahoma" panose="020B0604030504040204" pitchFamily="34" charset="0"/>
                <a:ea typeface="Tahoma" panose="020B0604030504040204" pitchFamily="34" charset="0"/>
                <a:cs typeface="Tahoma" panose="020B0604030504040204" pitchFamily="34" charset="0"/>
              </a:rPr>
            </a:br>
            <a:r>
              <a:rPr lang="en-GB">
                <a:latin typeface="Tahoma" panose="020B0604030504040204" pitchFamily="34" charset="0"/>
                <a:ea typeface="Tahoma" panose="020B0604030504040204" pitchFamily="34" charset="0"/>
                <a:cs typeface="Tahoma" panose="020B0604030504040204" pitchFamily="34" charset="0"/>
              </a:rPr>
              <a:t>Conversion</a:t>
            </a:r>
          </a:p>
        </p:txBody>
      </p:sp>
      <p:sp>
        <p:nvSpPr>
          <p:cNvPr id="76" name="TextBox 75">
            <a:extLst>
              <a:ext uri="{FF2B5EF4-FFF2-40B4-BE49-F238E27FC236}">
                <a16:creationId xmlns:a16="http://schemas.microsoft.com/office/drawing/2014/main" id="{D6A2DBEE-E3EA-4861-8737-BA73E2C3A9E2}"/>
              </a:ext>
            </a:extLst>
          </p:cNvPr>
          <p:cNvSpPr txBox="1"/>
          <p:nvPr/>
        </p:nvSpPr>
        <p:spPr>
          <a:xfrm>
            <a:off x="5562747" y="3093158"/>
            <a:ext cx="425364" cy="234286"/>
          </a:xfrm>
          <a:prstGeom prst="rect">
            <a:avLst/>
          </a:prstGeom>
          <a:noFill/>
        </p:spPr>
        <p:txBody>
          <a:bodyPr vert="horz" wrap="none" lIns="36000" tIns="36000" rIns="36000" bIns="36000" rtlCol="0">
            <a:spAutoFit/>
          </a:bodyPr>
          <a:lstStyle/>
          <a:p>
            <a:pPr algn="ctr">
              <a:spcBef>
                <a:spcPts val="600"/>
              </a:spcBef>
              <a:buClr>
                <a:srgbClr val="002060"/>
              </a:buClr>
            </a:pPr>
            <a:r>
              <a:rPr lang="en-GB" sz="1050" b="1">
                <a:latin typeface="Tahoma" panose="020B0604030504040204" pitchFamily="34" charset="0"/>
                <a:ea typeface="Tahoma" panose="020B0604030504040204" pitchFamily="34" charset="0"/>
                <a:cs typeface="Tahoma" panose="020B0604030504040204" pitchFamily="34" charset="0"/>
              </a:rPr>
              <a:t>Good</a:t>
            </a:r>
          </a:p>
        </p:txBody>
      </p:sp>
      <p:sp>
        <p:nvSpPr>
          <p:cNvPr id="96" name="TextBox 95">
            <a:extLst>
              <a:ext uri="{FF2B5EF4-FFF2-40B4-BE49-F238E27FC236}">
                <a16:creationId xmlns:a16="http://schemas.microsoft.com/office/drawing/2014/main" id="{9BF893EB-F975-4085-BCBB-ECD2A11D9180}"/>
              </a:ext>
            </a:extLst>
          </p:cNvPr>
          <p:cNvSpPr txBox="1"/>
          <p:nvPr/>
        </p:nvSpPr>
        <p:spPr>
          <a:xfrm>
            <a:off x="5357741" y="2069860"/>
            <a:ext cx="535971" cy="234286"/>
          </a:xfrm>
          <a:prstGeom prst="rect">
            <a:avLst/>
          </a:prstGeom>
          <a:noFill/>
        </p:spPr>
        <p:txBody>
          <a:bodyPr vert="horz" wrap="none" lIns="36000" tIns="36000" rIns="36000" bIns="36000" rtlCol="0">
            <a:spAutoFit/>
          </a:bodyPr>
          <a:lstStyle/>
          <a:p>
            <a:pPr algn="ctr">
              <a:spcBef>
                <a:spcPts val="600"/>
              </a:spcBef>
              <a:buClr>
                <a:srgbClr val="002060"/>
              </a:buClr>
            </a:pPr>
            <a:r>
              <a:rPr lang="en-GB" sz="1050" b="1">
                <a:latin typeface="Tahoma" panose="020B0604030504040204" pitchFamily="34" charset="0"/>
                <a:ea typeface="Tahoma" panose="020B0604030504040204" pitchFamily="34" charset="0"/>
                <a:cs typeface="Tahoma" panose="020B0604030504040204" pitchFamily="34" charset="0"/>
              </a:rPr>
              <a:t>Master</a:t>
            </a:r>
          </a:p>
        </p:txBody>
      </p:sp>
      <p:sp>
        <p:nvSpPr>
          <p:cNvPr id="103" name="TextBox 102">
            <a:extLst>
              <a:ext uri="{FF2B5EF4-FFF2-40B4-BE49-F238E27FC236}">
                <a16:creationId xmlns:a16="http://schemas.microsoft.com/office/drawing/2014/main" id="{EC71D3A3-0A60-44DF-B255-8731ADF23BF3}"/>
              </a:ext>
            </a:extLst>
          </p:cNvPr>
          <p:cNvSpPr txBox="1"/>
          <p:nvPr/>
        </p:nvSpPr>
        <p:spPr>
          <a:xfrm>
            <a:off x="5364573" y="2618821"/>
            <a:ext cx="691462" cy="234286"/>
          </a:xfrm>
          <a:prstGeom prst="rect">
            <a:avLst/>
          </a:prstGeom>
          <a:noFill/>
        </p:spPr>
        <p:txBody>
          <a:bodyPr vert="horz" wrap="none" lIns="36000" tIns="36000" rIns="36000" bIns="36000" rtlCol="0">
            <a:spAutoFit/>
          </a:bodyPr>
          <a:lstStyle/>
          <a:p>
            <a:pPr algn="ctr">
              <a:spcBef>
                <a:spcPts val="600"/>
              </a:spcBef>
              <a:buClr>
                <a:srgbClr val="002060"/>
              </a:buClr>
            </a:pPr>
            <a:r>
              <a:rPr lang="en-GB" sz="1050" b="1">
                <a:latin typeface="Tahoma" panose="020B0604030504040204" pitchFamily="34" charset="0"/>
                <a:ea typeface="Tahoma" panose="020B0604030504040204" pitchFamily="34" charset="0"/>
                <a:cs typeface="Tahoma" panose="020B0604030504040204" pitchFamily="34" charset="0"/>
              </a:rPr>
              <a:t>Excellent</a:t>
            </a:r>
          </a:p>
        </p:txBody>
      </p:sp>
      <p:sp>
        <p:nvSpPr>
          <p:cNvPr id="3" name="Oval 2">
            <a:extLst>
              <a:ext uri="{FF2B5EF4-FFF2-40B4-BE49-F238E27FC236}">
                <a16:creationId xmlns:a16="http://schemas.microsoft.com/office/drawing/2014/main" id="{A57769C9-0284-4AD3-9FC6-9C3B5AD08980}"/>
              </a:ext>
            </a:extLst>
          </p:cNvPr>
          <p:cNvSpPr/>
          <p:nvPr/>
        </p:nvSpPr>
        <p:spPr>
          <a:xfrm>
            <a:off x="5745500" y="3357903"/>
            <a:ext cx="757191" cy="757191"/>
          </a:xfrm>
          <a:prstGeom prst="ellipse">
            <a:avLst/>
          </a:prstGeom>
          <a:solidFill>
            <a:schemeClr val="tx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err="1">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6" name="Oval 21">
            <a:extLst>
              <a:ext uri="{FF2B5EF4-FFF2-40B4-BE49-F238E27FC236}">
                <a16:creationId xmlns:a16="http://schemas.microsoft.com/office/drawing/2014/main" id="{0AE099A7-7E34-40DD-A32A-48825280C7C2}"/>
              </a:ext>
            </a:extLst>
          </p:cNvPr>
          <p:cNvSpPr/>
          <p:nvPr/>
        </p:nvSpPr>
        <p:spPr>
          <a:xfrm>
            <a:off x="4536239" y="2201033"/>
            <a:ext cx="2677779" cy="3162665"/>
          </a:xfrm>
          <a:custGeom>
            <a:avLst/>
            <a:gdLst>
              <a:gd name="connsiteX0" fmla="*/ 0 w 2170532"/>
              <a:gd name="connsiteY0" fmla="*/ 1093728 h 2187456"/>
              <a:gd name="connsiteX1" fmla="*/ 1085266 w 2170532"/>
              <a:gd name="connsiteY1" fmla="*/ 0 h 2187456"/>
              <a:gd name="connsiteX2" fmla="*/ 2170532 w 2170532"/>
              <a:gd name="connsiteY2" fmla="*/ 1093728 h 2187456"/>
              <a:gd name="connsiteX3" fmla="*/ 1085266 w 2170532"/>
              <a:gd name="connsiteY3" fmla="*/ 2187456 h 2187456"/>
              <a:gd name="connsiteX4" fmla="*/ 0 w 2170532"/>
              <a:gd name="connsiteY4" fmla="*/ 1093728 h 2187456"/>
              <a:gd name="connsiteX0" fmla="*/ 28546 w 2199078"/>
              <a:gd name="connsiteY0" fmla="*/ 1137766 h 2231494"/>
              <a:gd name="connsiteX1" fmla="*/ 383506 w 2199078"/>
              <a:gd name="connsiteY1" fmla="*/ 305039 h 2231494"/>
              <a:gd name="connsiteX2" fmla="*/ 1113812 w 2199078"/>
              <a:gd name="connsiteY2" fmla="*/ 44038 h 2231494"/>
              <a:gd name="connsiteX3" fmla="*/ 2199078 w 2199078"/>
              <a:gd name="connsiteY3" fmla="*/ 1137766 h 2231494"/>
              <a:gd name="connsiteX4" fmla="*/ 1113812 w 2199078"/>
              <a:gd name="connsiteY4" fmla="*/ 2231494 h 2231494"/>
              <a:gd name="connsiteX5" fmla="*/ 28546 w 2199078"/>
              <a:gd name="connsiteY5" fmla="*/ 1137766 h 2231494"/>
              <a:gd name="connsiteX0" fmla="*/ 28546 w 2199078"/>
              <a:gd name="connsiteY0" fmla="*/ 1242106 h 2335834"/>
              <a:gd name="connsiteX1" fmla="*/ 383506 w 2199078"/>
              <a:gd name="connsiteY1" fmla="*/ 409379 h 2335834"/>
              <a:gd name="connsiteX2" fmla="*/ 1468919 w 2199078"/>
              <a:gd name="connsiteY2" fmla="*/ 32969 h 2335834"/>
              <a:gd name="connsiteX3" fmla="*/ 2199078 w 2199078"/>
              <a:gd name="connsiteY3" fmla="*/ 1242106 h 2335834"/>
              <a:gd name="connsiteX4" fmla="*/ 1113812 w 2199078"/>
              <a:gd name="connsiteY4" fmla="*/ 2335834 h 2335834"/>
              <a:gd name="connsiteX5" fmla="*/ 28546 w 2199078"/>
              <a:gd name="connsiteY5" fmla="*/ 1242106 h 2335834"/>
              <a:gd name="connsiteX0" fmla="*/ 96418 w 2266950"/>
              <a:gd name="connsiteY0" fmla="*/ 1324845 h 2418573"/>
              <a:gd name="connsiteX1" fmla="*/ 176170 w 2266950"/>
              <a:gd name="connsiteY1" fmla="*/ 172522 h 2418573"/>
              <a:gd name="connsiteX2" fmla="*/ 1536791 w 2266950"/>
              <a:gd name="connsiteY2" fmla="*/ 115708 h 2418573"/>
              <a:gd name="connsiteX3" fmla="*/ 2266950 w 2266950"/>
              <a:gd name="connsiteY3" fmla="*/ 1324845 h 2418573"/>
              <a:gd name="connsiteX4" fmla="*/ 1181684 w 2266950"/>
              <a:gd name="connsiteY4" fmla="*/ 2418573 h 2418573"/>
              <a:gd name="connsiteX5" fmla="*/ 96418 w 2266950"/>
              <a:gd name="connsiteY5" fmla="*/ 1324845 h 2418573"/>
              <a:gd name="connsiteX0" fmla="*/ 14596 w 3445757"/>
              <a:gd name="connsiteY0" fmla="*/ 934227 h 2423786"/>
              <a:gd name="connsiteX1" fmla="*/ 1354977 w 3445757"/>
              <a:gd name="connsiteY1" fmla="*/ 172522 h 2423786"/>
              <a:gd name="connsiteX2" fmla="*/ 2715598 w 3445757"/>
              <a:gd name="connsiteY2" fmla="*/ 115708 h 2423786"/>
              <a:gd name="connsiteX3" fmla="*/ 3445757 w 3445757"/>
              <a:gd name="connsiteY3" fmla="*/ 1324845 h 2423786"/>
              <a:gd name="connsiteX4" fmla="*/ 2360491 w 3445757"/>
              <a:gd name="connsiteY4" fmla="*/ 2418573 h 2423786"/>
              <a:gd name="connsiteX5" fmla="*/ 14596 w 3445757"/>
              <a:gd name="connsiteY5" fmla="*/ 934227 h 2423786"/>
              <a:gd name="connsiteX0" fmla="*/ 14596 w 3445757"/>
              <a:gd name="connsiteY0" fmla="*/ 934227 h 2433776"/>
              <a:gd name="connsiteX1" fmla="*/ 1354977 w 3445757"/>
              <a:gd name="connsiteY1" fmla="*/ 172522 h 2433776"/>
              <a:gd name="connsiteX2" fmla="*/ 2715598 w 3445757"/>
              <a:gd name="connsiteY2" fmla="*/ 115708 h 2433776"/>
              <a:gd name="connsiteX3" fmla="*/ 3445757 w 3445757"/>
              <a:gd name="connsiteY3" fmla="*/ 1324845 h 2433776"/>
              <a:gd name="connsiteX4" fmla="*/ 2360491 w 3445757"/>
              <a:gd name="connsiteY4" fmla="*/ 2418573 h 2433776"/>
              <a:gd name="connsiteX5" fmla="*/ 1177424 w 3445757"/>
              <a:gd name="connsiteY5" fmla="*/ 1894790 h 2433776"/>
              <a:gd name="connsiteX6" fmla="*/ 14596 w 3445757"/>
              <a:gd name="connsiteY6" fmla="*/ 934227 h 2433776"/>
              <a:gd name="connsiteX0" fmla="*/ 2247 w 3433408"/>
              <a:gd name="connsiteY0" fmla="*/ 934227 h 2478987"/>
              <a:gd name="connsiteX1" fmla="*/ 1342628 w 3433408"/>
              <a:gd name="connsiteY1" fmla="*/ 172522 h 2478987"/>
              <a:gd name="connsiteX2" fmla="*/ 2703249 w 3433408"/>
              <a:gd name="connsiteY2" fmla="*/ 115708 h 2478987"/>
              <a:gd name="connsiteX3" fmla="*/ 3433408 w 3433408"/>
              <a:gd name="connsiteY3" fmla="*/ 1324845 h 2478987"/>
              <a:gd name="connsiteX4" fmla="*/ 2348142 w 3433408"/>
              <a:gd name="connsiteY4" fmla="*/ 2418573 h 2478987"/>
              <a:gd name="connsiteX5" fmla="*/ 1058543 w 3433408"/>
              <a:gd name="connsiteY5" fmla="*/ 2187753 h 2478987"/>
              <a:gd name="connsiteX6" fmla="*/ 2247 w 3433408"/>
              <a:gd name="connsiteY6" fmla="*/ 934227 h 2478987"/>
              <a:gd name="connsiteX0" fmla="*/ 2247 w 3433408"/>
              <a:gd name="connsiteY0" fmla="*/ 934227 h 2698988"/>
              <a:gd name="connsiteX1" fmla="*/ 1342628 w 3433408"/>
              <a:gd name="connsiteY1" fmla="*/ 172522 h 2698988"/>
              <a:gd name="connsiteX2" fmla="*/ 2703249 w 3433408"/>
              <a:gd name="connsiteY2" fmla="*/ 115708 h 2698988"/>
              <a:gd name="connsiteX3" fmla="*/ 3433408 w 3433408"/>
              <a:gd name="connsiteY3" fmla="*/ 1324845 h 2698988"/>
              <a:gd name="connsiteX4" fmla="*/ 2037424 w 3433408"/>
              <a:gd name="connsiteY4" fmla="*/ 2667148 h 2698988"/>
              <a:gd name="connsiteX5" fmla="*/ 1058543 w 3433408"/>
              <a:gd name="connsiteY5" fmla="*/ 2187753 h 2698988"/>
              <a:gd name="connsiteX6" fmla="*/ 2247 w 3433408"/>
              <a:gd name="connsiteY6" fmla="*/ 934227 h 2698988"/>
              <a:gd name="connsiteX0" fmla="*/ 2247 w 4205765"/>
              <a:gd name="connsiteY0" fmla="*/ 905310 h 2694437"/>
              <a:gd name="connsiteX1" fmla="*/ 1342628 w 4205765"/>
              <a:gd name="connsiteY1" fmla="*/ 143605 h 2694437"/>
              <a:gd name="connsiteX2" fmla="*/ 2703249 w 4205765"/>
              <a:gd name="connsiteY2" fmla="*/ 86791 h 2694437"/>
              <a:gd name="connsiteX3" fmla="*/ 4205765 w 4205765"/>
              <a:gd name="connsiteY3" fmla="*/ 878677 h 2694437"/>
              <a:gd name="connsiteX4" fmla="*/ 2037424 w 4205765"/>
              <a:gd name="connsiteY4" fmla="*/ 2638231 h 2694437"/>
              <a:gd name="connsiteX5" fmla="*/ 1058543 w 4205765"/>
              <a:gd name="connsiteY5" fmla="*/ 2158836 h 2694437"/>
              <a:gd name="connsiteX6" fmla="*/ 2247 w 4205765"/>
              <a:gd name="connsiteY6" fmla="*/ 905310 h 2694437"/>
              <a:gd name="connsiteX0" fmla="*/ 2247 w 4210670"/>
              <a:gd name="connsiteY0" fmla="*/ 905310 h 2639423"/>
              <a:gd name="connsiteX1" fmla="*/ 1342628 w 4210670"/>
              <a:gd name="connsiteY1" fmla="*/ 143605 h 2639423"/>
              <a:gd name="connsiteX2" fmla="*/ 2703249 w 4210670"/>
              <a:gd name="connsiteY2" fmla="*/ 86791 h 2639423"/>
              <a:gd name="connsiteX3" fmla="*/ 4205765 w 4210670"/>
              <a:gd name="connsiteY3" fmla="*/ 878677 h 2639423"/>
              <a:gd name="connsiteX4" fmla="*/ 3144795 w 4210670"/>
              <a:gd name="connsiteY4" fmla="*/ 2034548 h 2639423"/>
              <a:gd name="connsiteX5" fmla="*/ 2037424 w 4210670"/>
              <a:gd name="connsiteY5" fmla="*/ 2638231 h 2639423"/>
              <a:gd name="connsiteX6" fmla="*/ 1058543 w 4210670"/>
              <a:gd name="connsiteY6" fmla="*/ 2158836 h 2639423"/>
              <a:gd name="connsiteX7" fmla="*/ 2247 w 4210670"/>
              <a:gd name="connsiteY7" fmla="*/ 905310 h 2639423"/>
              <a:gd name="connsiteX0" fmla="*/ 2247 w 4213433"/>
              <a:gd name="connsiteY0" fmla="*/ 905310 h 2674570"/>
              <a:gd name="connsiteX1" fmla="*/ 1342628 w 4213433"/>
              <a:gd name="connsiteY1" fmla="*/ 143605 h 2674570"/>
              <a:gd name="connsiteX2" fmla="*/ 2703249 w 4213433"/>
              <a:gd name="connsiteY2" fmla="*/ 86791 h 2674570"/>
              <a:gd name="connsiteX3" fmla="*/ 4205765 w 4213433"/>
              <a:gd name="connsiteY3" fmla="*/ 878677 h 2674570"/>
              <a:gd name="connsiteX4" fmla="*/ 3446636 w 4213433"/>
              <a:gd name="connsiteY4" fmla="*/ 2442921 h 2674570"/>
              <a:gd name="connsiteX5" fmla="*/ 2037424 w 4213433"/>
              <a:gd name="connsiteY5" fmla="*/ 2638231 h 2674570"/>
              <a:gd name="connsiteX6" fmla="*/ 1058543 w 4213433"/>
              <a:gd name="connsiteY6" fmla="*/ 2158836 h 2674570"/>
              <a:gd name="connsiteX7" fmla="*/ 2247 w 4213433"/>
              <a:gd name="connsiteY7" fmla="*/ 905310 h 2674570"/>
              <a:gd name="connsiteX0" fmla="*/ 2247 w 4213433"/>
              <a:gd name="connsiteY0" fmla="*/ 795198 h 2564458"/>
              <a:gd name="connsiteX1" fmla="*/ 1342628 w 4213433"/>
              <a:gd name="connsiteY1" fmla="*/ 33493 h 2564458"/>
              <a:gd name="connsiteX2" fmla="*/ 2339264 w 4213433"/>
              <a:gd name="connsiteY2" fmla="*/ 589238 h 2564458"/>
              <a:gd name="connsiteX3" fmla="*/ 4205765 w 4213433"/>
              <a:gd name="connsiteY3" fmla="*/ 768565 h 2564458"/>
              <a:gd name="connsiteX4" fmla="*/ 3446636 w 4213433"/>
              <a:gd name="connsiteY4" fmla="*/ 2332809 h 2564458"/>
              <a:gd name="connsiteX5" fmla="*/ 2037424 w 4213433"/>
              <a:gd name="connsiteY5" fmla="*/ 2528119 h 2564458"/>
              <a:gd name="connsiteX6" fmla="*/ 1058543 w 4213433"/>
              <a:gd name="connsiteY6" fmla="*/ 2048724 h 2564458"/>
              <a:gd name="connsiteX7" fmla="*/ 2247 w 4213433"/>
              <a:gd name="connsiteY7" fmla="*/ 795198 h 2564458"/>
              <a:gd name="connsiteX0" fmla="*/ 8090 w 4219276"/>
              <a:gd name="connsiteY0" fmla="*/ 502293 h 2271553"/>
              <a:gd name="connsiteX1" fmla="*/ 1632557 w 4219276"/>
              <a:gd name="connsiteY1" fmla="*/ 51306 h 2271553"/>
              <a:gd name="connsiteX2" fmla="*/ 2345107 w 4219276"/>
              <a:gd name="connsiteY2" fmla="*/ 296333 h 2271553"/>
              <a:gd name="connsiteX3" fmla="*/ 4211608 w 4219276"/>
              <a:gd name="connsiteY3" fmla="*/ 475660 h 2271553"/>
              <a:gd name="connsiteX4" fmla="*/ 3452479 w 4219276"/>
              <a:gd name="connsiteY4" fmla="*/ 2039904 h 2271553"/>
              <a:gd name="connsiteX5" fmla="*/ 2043267 w 4219276"/>
              <a:gd name="connsiteY5" fmla="*/ 2235214 h 2271553"/>
              <a:gd name="connsiteX6" fmla="*/ 1064386 w 4219276"/>
              <a:gd name="connsiteY6" fmla="*/ 1755819 h 2271553"/>
              <a:gd name="connsiteX7" fmla="*/ 8090 w 4219276"/>
              <a:gd name="connsiteY7" fmla="*/ 502293 h 2271553"/>
              <a:gd name="connsiteX0" fmla="*/ 8090 w 4219276"/>
              <a:gd name="connsiteY0" fmla="*/ 502293 h 3160345"/>
              <a:gd name="connsiteX1" fmla="*/ 1632557 w 4219276"/>
              <a:gd name="connsiteY1" fmla="*/ 51306 h 3160345"/>
              <a:gd name="connsiteX2" fmla="*/ 2345107 w 4219276"/>
              <a:gd name="connsiteY2" fmla="*/ 296333 h 3160345"/>
              <a:gd name="connsiteX3" fmla="*/ 4211608 w 4219276"/>
              <a:gd name="connsiteY3" fmla="*/ 475660 h 3160345"/>
              <a:gd name="connsiteX4" fmla="*/ 3452479 w 4219276"/>
              <a:gd name="connsiteY4" fmla="*/ 2039904 h 3160345"/>
              <a:gd name="connsiteX5" fmla="*/ 2096533 w 4219276"/>
              <a:gd name="connsiteY5" fmla="*/ 3158492 h 3160345"/>
              <a:gd name="connsiteX6" fmla="*/ 1064386 w 4219276"/>
              <a:gd name="connsiteY6" fmla="*/ 1755819 h 3160345"/>
              <a:gd name="connsiteX7" fmla="*/ 8090 w 4219276"/>
              <a:gd name="connsiteY7" fmla="*/ 502293 h 3160345"/>
              <a:gd name="connsiteX0" fmla="*/ 8090 w 4214415"/>
              <a:gd name="connsiteY0" fmla="*/ 502293 h 3161575"/>
              <a:gd name="connsiteX1" fmla="*/ 1632557 w 4214415"/>
              <a:gd name="connsiteY1" fmla="*/ 51306 h 3161575"/>
              <a:gd name="connsiteX2" fmla="*/ 2345107 w 4214415"/>
              <a:gd name="connsiteY2" fmla="*/ 296333 h 3161575"/>
              <a:gd name="connsiteX3" fmla="*/ 4211608 w 4214415"/>
              <a:gd name="connsiteY3" fmla="*/ 475660 h 3161575"/>
              <a:gd name="connsiteX4" fmla="*/ 2529201 w 4214415"/>
              <a:gd name="connsiteY4" fmla="*/ 1320813 h 3161575"/>
              <a:gd name="connsiteX5" fmla="*/ 2096533 w 4214415"/>
              <a:gd name="connsiteY5" fmla="*/ 3158492 h 3161575"/>
              <a:gd name="connsiteX6" fmla="*/ 1064386 w 4214415"/>
              <a:gd name="connsiteY6" fmla="*/ 1755819 h 3161575"/>
              <a:gd name="connsiteX7" fmla="*/ 8090 w 4214415"/>
              <a:gd name="connsiteY7" fmla="*/ 502293 h 3161575"/>
              <a:gd name="connsiteX0" fmla="*/ 8090 w 3789453"/>
              <a:gd name="connsiteY0" fmla="*/ 503154 h 3162436"/>
              <a:gd name="connsiteX1" fmla="*/ 1632557 w 3789453"/>
              <a:gd name="connsiteY1" fmla="*/ 52167 h 3162436"/>
              <a:gd name="connsiteX2" fmla="*/ 2345107 w 3789453"/>
              <a:gd name="connsiteY2" fmla="*/ 297194 h 3162436"/>
              <a:gd name="connsiteX3" fmla="*/ 3785480 w 3789453"/>
              <a:gd name="connsiteY3" fmla="*/ 529787 h 3162436"/>
              <a:gd name="connsiteX4" fmla="*/ 2529201 w 3789453"/>
              <a:gd name="connsiteY4" fmla="*/ 1321674 h 3162436"/>
              <a:gd name="connsiteX5" fmla="*/ 2096533 w 3789453"/>
              <a:gd name="connsiteY5" fmla="*/ 3159353 h 3162436"/>
              <a:gd name="connsiteX6" fmla="*/ 1064386 w 3789453"/>
              <a:gd name="connsiteY6" fmla="*/ 1756680 h 3162436"/>
              <a:gd name="connsiteX7" fmla="*/ 8090 w 3789453"/>
              <a:gd name="connsiteY7" fmla="*/ 503154 h 3162436"/>
              <a:gd name="connsiteX0" fmla="*/ 39 w 3781402"/>
              <a:gd name="connsiteY0" fmla="*/ 1332996 h 3992278"/>
              <a:gd name="connsiteX1" fmla="*/ 1091846 w 3781402"/>
              <a:gd name="connsiteY1" fmla="*/ 20875 h 3992278"/>
              <a:gd name="connsiteX2" fmla="*/ 2337056 w 3781402"/>
              <a:gd name="connsiteY2" fmla="*/ 1127036 h 3992278"/>
              <a:gd name="connsiteX3" fmla="*/ 3777429 w 3781402"/>
              <a:gd name="connsiteY3" fmla="*/ 1359629 h 3992278"/>
              <a:gd name="connsiteX4" fmla="*/ 2521150 w 3781402"/>
              <a:gd name="connsiteY4" fmla="*/ 2151516 h 3992278"/>
              <a:gd name="connsiteX5" fmla="*/ 2088482 w 3781402"/>
              <a:gd name="connsiteY5" fmla="*/ 3989195 h 3992278"/>
              <a:gd name="connsiteX6" fmla="*/ 1056335 w 3781402"/>
              <a:gd name="connsiteY6" fmla="*/ 2586522 h 3992278"/>
              <a:gd name="connsiteX7" fmla="*/ 39 w 3781402"/>
              <a:gd name="connsiteY7" fmla="*/ 1332996 h 3992278"/>
              <a:gd name="connsiteX0" fmla="*/ 39 w 3781402"/>
              <a:gd name="connsiteY0" fmla="*/ 1486877 h 4146159"/>
              <a:gd name="connsiteX1" fmla="*/ 1091846 w 3781402"/>
              <a:gd name="connsiteY1" fmla="*/ 174756 h 4146159"/>
              <a:gd name="connsiteX2" fmla="*/ 3029514 w 3781402"/>
              <a:gd name="connsiteY2" fmla="*/ 135698 h 4146159"/>
              <a:gd name="connsiteX3" fmla="*/ 3777429 w 3781402"/>
              <a:gd name="connsiteY3" fmla="*/ 1513510 h 4146159"/>
              <a:gd name="connsiteX4" fmla="*/ 2521150 w 3781402"/>
              <a:gd name="connsiteY4" fmla="*/ 2305397 h 4146159"/>
              <a:gd name="connsiteX5" fmla="*/ 2088482 w 3781402"/>
              <a:gd name="connsiteY5" fmla="*/ 4143076 h 4146159"/>
              <a:gd name="connsiteX6" fmla="*/ 1056335 w 3781402"/>
              <a:gd name="connsiteY6" fmla="*/ 2740403 h 4146159"/>
              <a:gd name="connsiteX7" fmla="*/ 39 w 3781402"/>
              <a:gd name="connsiteY7" fmla="*/ 1486877 h 4146159"/>
              <a:gd name="connsiteX0" fmla="*/ 436 w 3160362"/>
              <a:gd name="connsiteY0" fmla="*/ 1611164 h 4146159"/>
              <a:gd name="connsiteX1" fmla="*/ 470806 w 3160362"/>
              <a:gd name="connsiteY1" fmla="*/ 174756 h 4146159"/>
              <a:gd name="connsiteX2" fmla="*/ 2408474 w 3160362"/>
              <a:gd name="connsiteY2" fmla="*/ 135698 h 4146159"/>
              <a:gd name="connsiteX3" fmla="*/ 3156389 w 3160362"/>
              <a:gd name="connsiteY3" fmla="*/ 1513510 h 4146159"/>
              <a:gd name="connsiteX4" fmla="*/ 1900110 w 3160362"/>
              <a:gd name="connsiteY4" fmla="*/ 2305397 h 4146159"/>
              <a:gd name="connsiteX5" fmla="*/ 1467442 w 3160362"/>
              <a:gd name="connsiteY5" fmla="*/ 4143076 h 4146159"/>
              <a:gd name="connsiteX6" fmla="*/ 435295 w 3160362"/>
              <a:gd name="connsiteY6" fmla="*/ 2740403 h 4146159"/>
              <a:gd name="connsiteX7" fmla="*/ 436 w 3160362"/>
              <a:gd name="connsiteY7" fmla="*/ 1611164 h 4146159"/>
              <a:gd name="connsiteX0" fmla="*/ 436 w 3350181"/>
              <a:gd name="connsiteY0" fmla="*/ 1611164 h 4149884"/>
              <a:gd name="connsiteX1" fmla="*/ 470806 w 3350181"/>
              <a:gd name="connsiteY1" fmla="*/ 174756 h 4149884"/>
              <a:gd name="connsiteX2" fmla="*/ 2408474 w 3350181"/>
              <a:gd name="connsiteY2" fmla="*/ 135698 h 4149884"/>
              <a:gd name="connsiteX3" fmla="*/ 3156389 w 3350181"/>
              <a:gd name="connsiteY3" fmla="*/ 1513510 h 4149884"/>
              <a:gd name="connsiteX4" fmla="*/ 3178494 w 3350181"/>
              <a:gd name="connsiteY4" fmla="*/ 3237552 h 4149884"/>
              <a:gd name="connsiteX5" fmla="*/ 1467442 w 3350181"/>
              <a:gd name="connsiteY5" fmla="*/ 4143076 h 4149884"/>
              <a:gd name="connsiteX6" fmla="*/ 435295 w 3350181"/>
              <a:gd name="connsiteY6" fmla="*/ 2740403 h 4149884"/>
              <a:gd name="connsiteX7" fmla="*/ 436 w 3350181"/>
              <a:gd name="connsiteY7" fmla="*/ 1611164 h 4149884"/>
              <a:gd name="connsiteX0" fmla="*/ 436 w 3242380"/>
              <a:gd name="connsiteY0" fmla="*/ 1628055 h 4166775"/>
              <a:gd name="connsiteX1" fmla="*/ 470806 w 3242380"/>
              <a:gd name="connsiteY1" fmla="*/ 191647 h 4166775"/>
              <a:gd name="connsiteX2" fmla="*/ 2408474 w 3242380"/>
              <a:gd name="connsiteY2" fmla="*/ 152589 h 4166775"/>
              <a:gd name="connsiteX3" fmla="*/ 2179845 w 3242380"/>
              <a:gd name="connsiteY3" fmla="*/ 1770099 h 4166775"/>
              <a:gd name="connsiteX4" fmla="*/ 3178494 w 3242380"/>
              <a:gd name="connsiteY4" fmla="*/ 3254443 h 4166775"/>
              <a:gd name="connsiteX5" fmla="*/ 1467442 w 3242380"/>
              <a:gd name="connsiteY5" fmla="*/ 4159967 h 4166775"/>
              <a:gd name="connsiteX6" fmla="*/ 435295 w 3242380"/>
              <a:gd name="connsiteY6" fmla="*/ 2757294 h 4166775"/>
              <a:gd name="connsiteX7" fmla="*/ 436 w 3242380"/>
              <a:gd name="connsiteY7" fmla="*/ 1628055 h 4166775"/>
              <a:gd name="connsiteX0" fmla="*/ 437850 w 3679794"/>
              <a:gd name="connsiteY0" fmla="*/ 1628055 h 4160098"/>
              <a:gd name="connsiteX1" fmla="*/ 908220 w 3679794"/>
              <a:gd name="connsiteY1" fmla="*/ 191647 h 4160098"/>
              <a:gd name="connsiteX2" fmla="*/ 2845888 w 3679794"/>
              <a:gd name="connsiteY2" fmla="*/ 152589 h 4160098"/>
              <a:gd name="connsiteX3" fmla="*/ 2617259 w 3679794"/>
              <a:gd name="connsiteY3" fmla="*/ 1770099 h 4160098"/>
              <a:gd name="connsiteX4" fmla="*/ 3615908 w 3679794"/>
              <a:gd name="connsiteY4" fmla="*/ 3254443 h 4160098"/>
              <a:gd name="connsiteX5" fmla="*/ 1904856 w 3679794"/>
              <a:gd name="connsiteY5" fmla="*/ 4159967 h 4160098"/>
              <a:gd name="connsiteX6" fmla="*/ 135862 w 3679794"/>
              <a:gd name="connsiteY6" fmla="*/ 3316587 h 4160098"/>
              <a:gd name="connsiteX7" fmla="*/ 437850 w 3679794"/>
              <a:gd name="connsiteY7" fmla="*/ 1628055 h 4160098"/>
              <a:gd name="connsiteX0" fmla="*/ 445706 w 3687650"/>
              <a:gd name="connsiteY0" fmla="*/ 1488636 h 4020679"/>
              <a:gd name="connsiteX1" fmla="*/ 1235672 w 3687650"/>
              <a:gd name="connsiteY1" fmla="*/ 877851 h 4020679"/>
              <a:gd name="connsiteX2" fmla="*/ 2853744 w 3687650"/>
              <a:gd name="connsiteY2" fmla="*/ 13170 h 4020679"/>
              <a:gd name="connsiteX3" fmla="*/ 2625115 w 3687650"/>
              <a:gd name="connsiteY3" fmla="*/ 1630680 h 4020679"/>
              <a:gd name="connsiteX4" fmla="*/ 3623764 w 3687650"/>
              <a:gd name="connsiteY4" fmla="*/ 3115024 h 4020679"/>
              <a:gd name="connsiteX5" fmla="*/ 1912712 w 3687650"/>
              <a:gd name="connsiteY5" fmla="*/ 4020548 h 4020679"/>
              <a:gd name="connsiteX6" fmla="*/ 143718 w 3687650"/>
              <a:gd name="connsiteY6" fmla="*/ 3177168 h 4020679"/>
              <a:gd name="connsiteX7" fmla="*/ 445706 w 3687650"/>
              <a:gd name="connsiteY7" fmla="*/ 1488636 h 4020679"/>
              <a:gd name="connsiteX0" fmla="*/ 445706 w 3687650"/>
              <a:gd name="connsiteY0" fmla="*/ 663681 h 3195724"/>
              <a:gd name="connsiteX1" fmla="*/ 1235672 w 3687650"/>
              <a:gd name="connsiteY1" fmla="*/ 52896 h 3195724"/>
              <a:gd name="connsiteX2" fmla="*/ 2445372 w 3687650"/>
              <a:gd name="connsiteY2" fmla="*/ 333435 h 3195724"/>
              <a:gd name="connsiteX3" fmla="*/ 2625115 w 3687650"/>
              <a:gd name="connsiteY3" fmla="*/ 805725 h 3195724"/>
              <a:gd name="connsiteX4" fmla="*/ 3623764 w 3687650"/>
              <a:gd name="connsiteY4" fmla="*/ 2290069 h 3195724"/>
              <a:gd name="connsiteX5" fmla="*/ 1912712 w 3687650"/>
              <a:gd name="connsiteY5" fmla="*/ 3195593 h 3195724"/>
              <a:gd name="connsiteX6" fmla="*/ 143718 w 3687650"/>
              <a:gd name="connsiteY6" fmla="*/ 2352213 h 3195724"/>
              <a:gd name="connsiteX7" fmla="*/ 445706 w 3687650"/>
              <a:gd name="connsiteY7" fmla="*/ 663681 h 3195724"/>
              <a:gd name="connsiteX0" fmla="*/ 445706 w 4040777"/>
              <a:gd name="connsiteY0" fmla="*/ 658777 h 3190820"/>
              <a:gd name="connsiteX1" fmla="*/ 1235672 w 4040777"/>
              <a:gd name="connsiteY1" fmla="*/ 47992 h 3190820"/>
              <a:gd name="connsiteX2" fmla="*/ 2445372 w 4040777"/>
              <a:gd name="connsiteY2" fmla="*/ 328531 h 3190820"/>
              <a:gd name="connsiteX3" fmla="*/ 4018909 w 4040777"/>
              <a:gd name="connsiteY3" fmla="*/ 481225 h 3190820"/>
              <a:gd name="connsiteX4" fmla="*/ 3623764 w 4040777"/>
              <a:gd name="connsiteY4" fmla="*/ 2285165 h 3190820"/>
              <a:gd name="connsiteX5" fmla="*/ 1912712 w 4040777"/>
              <a:gd name="connsiteY5" fmla="*/ 3190689 h 3190820"/>
              <a:gd name="connsiteX6" fmla="*/ 143718 w 4040777"/>
              <a:gd name="connsiteY6" fmla="*/ 2347309 h 3190820"/>
              <a:gd name="connsiteX7" fmla="*/ 445706 w 4040777"/>
              <a:gd name="connsiteY7" fmla="*/ 658777 h 3190820"/>
              <a:gd name="connsiteX0" fmla="*/ 445706 w 4022199"/>
              <a:gd name="connsiteY0" fmla="*/ 658777 h 3210308"/>
              <a:gd name="connsiteX1" fmla="*/ 1235672 w 4022199"/>
              <a:gd name="connsiteY1" fmla="*/ 47992 h 3210308"/>
              <a:gd name="connsiteX2" fmla="*/ 2445372 w 4022199"/>
              <a:gd name="connsiteY2" fmla="*/ 328531 h 3210308"/>
              <a:gd name="connsiteX3" fmla="*/ 4018909 w 4022199"/>
              <a:gd name="connsiteY3" fmla="*/ 481225 h 3210308"/>
              <a:gd name="connsiteX4" fmla="*/ 2549566 w 4022199"/>
              <a:gd name="connsiteY4" fmla="*/ 1450664 h 3210308"/>
              <a:gd name="connsiteX5" fmla="*/ 1912712 w 4022199"/>
              <a:gd name="connsiteY5" fmla="*/ 3190689 h 3210308"/>
              <a:gd name="connsiteX6" fmla="*/ 143718 w 4022199"/>
              <a:gd name="connsiteY6" fmla="*/ 2347309 h 3210308"/>
              <a:gd name="connsiteX7" fmla="*/ 445706 w 4022199"/>
              <a:gd name="connsiteY7" fmla="*/ 658777 h 3210308"/>
              <a:gd name="connsiteX0" fmla="*/ 3333 w 3579826"/>
              <a:gd name="connsiteY0" fmla="*/ 658777 h 3190991"/>
              <a:gd name="connsiteX1" fmla="*/ 793299 w 3579826"/>
              <a:gd name="connsiteY1" fmla="*/ 47992 h 3190991"/>
              <a:gd name="connsiteX2" fmla="*/ 2002999 w 3579826"/>
              <a:gd name="connsiteY2" fmla="*/ 328531 h 3190991"/>
              <a:gd name="connsiteX3" fmla="*/ 3576536 w 3579826"/>
              <a:gd name="connsiteY3" fmla="*/ 481225 h 3190991"/>
              <a:gd name="connsiteX4" fmla="*/ 2107193 w 3579826"/>
              <a:gd name="connsiteY4" fmla="*/ 1450664 h 3190991"/>
              <a:gd name="connsiteX5" fmla="*/ 1470339 w 3579826"/>
              <a:gd name="connsiteY5" fmla="*/ 3190689 h 3190991"/>
              <a:gd name="connsiteX6" fmla="*/ 589112 w 3579826"/>
              <a:gd name="connsiteY6" fmla="*/ 1592707 h 3190991"/>
              <a:gd name="connsiteX7" fmla="*/ 3333 w 3579826"/>
              <a:gd name="connsiteY7" fmla="*/ 658777 h 3190991"/>
              <a:gd name="connsiteX0" fmla="*/ 1382 w 3950737"/>
              <a:gd name="connsiteY0" fmla="*/ 694288 h 3190991"/>
              <a:gd name="connsiteX1" fmla="*/ 1164210 w 3950737"/>
              <a:gd name="connsiteY1" fmla="*/ 47992 h 3190991"/>
              <a:gd name="connsiteX2" fmla="*/ 2373910 w 3950737"/>
              <a:gd name="connsiteY2" fmla="*/ 328531 h 3190991"/>
              <a:gd name="connsiteX3" fmla="*/ 3947447 w 3950737"/>
              <a:gd name="connsiteY3" fmla="*/ 481225 h 3190991"/>
              <a:gd name="connsiteX4" fmla="*/ 2478104 w 3950737"/>
              <a:gd name="connsiteY4" fmla="*/ 1450664 h 3190991"/>
              <a:gd name="connsiteX5" fmla="*/ 1841250 w 3950737"/>
              <a:gd name="connsiteY5" fmla="*/ 3190689 h 3190991"/>
              <a:gd name="connsiteX6" fmla="*/ 960023 w 3950737"/>
              <a:gd name="connsiteY6" fmla="*/ 1592707 h 3190991"/>
              <a:gd name="connsiteX7" fmla="*/ 1382 w 3950737"/>
              <a:gd name="connsiteY7" fmla="*/ 694288 h 3190991"/>
              <a:gd name="connsiteX0" fmla="*/ 1382 w 3954221"/>
              <a:gd name="connsiteY0" fmla="*/ 694288 h 3194843"/>
              <a:gd name="connsiteX1" fmla="*/ 1164210 w 3954221"/>
              <a:gd name="connsiteY1" fmla="*/ 47992 h 3194843"/>
              <a:gd name="connsiteX2" fmla="*/ 2373910 w 3954221"/>
              <a:gd name="connsiteY2" fmla="*/ 328531 h 3194843"/>
              <a:gd name="connsiteX3" fmla="*/ 3947447 w 3954221"/>
              <a:gd name="connsiteY3" fmla="*/ 481225 h 3194843"/>
              <a:gd name="connsiteX4" fmla="*/ 3117297 w 3954221"/>
              <a:gd name="connsiteY4" fmla="*/ 2036590 h 3194843"/>
              <a:gd name="connsiteX5" fmla="*/ 1841250 w 3954221"/>
              <a:gd name="connsiteY5" fmla="*/ 3190689 h 3194843"/>
              <a:gd name="connsiteX6" fmla="*/ 960023 w 3954221"/>
              <a:gd name="connsiteY6" fmla="*/ 1592707 h 3194843"/>
              <a:gd name="connsiteX7" fmla="*/ 1382 w 3954221"/>
              <a:gd name="connsiteY7" fmla="*/ 694288 h 3194843"/>
              <a:gd name="connsiteX0" fmla="*/ 1382 w 3954221"/>
              <a:gd name="connsiteY0" fmla="*/ 694288 h 2806911"/>
              <a:gd name="connsiteX1" fmla="*/ 1164210 w 3954221"/>
              <a:gd name="connsiteY1" fmla="*/ 47992 h 2806911"/>
              <a:gd name="connsiteX2" fmla="*/ 2373910 w 3954221"/>
              <a:gd name="connsiteY2" fmla="*/ 328531 h 2806911"/>
              <a:gd name="connsiteX3" fmla="*/ 3947447 w 3954221"/>
              <a:gd name="connsiteY3" fmla="*/ 481225 h 2806911"/>
              <a:gd name="connsiteX4" fmla="*/ 3117297 w 3954221"/>
              <a:gd name="connsiteY4" fmla="*/ 2036590 h 2806911"/>
              <a:gd name="connsiteX5" fmla="*/ 1779107 w 3954221"/>
              <a:gd name="connsiteY5" fmla="*/ 2800072 h 2806911"/>
              <a:gd name="connsiteX6" fmla="*/ 960023 w 3954221"/>
              <a:gd name="connsiteY6" fmla="*/ 1592707 h 2806911"/>
              <a:gd name="connsiteX7" fmla="*/ 1382 w 3954221"/>
              <a:gd name="connsiteY7" fmla="*/ 694288 h 2806911"/>
              <a:gd name="connsiteX0" fmla="*/ 1431 w 3816706"/>
              <a:gd name="connsiteY0" fmla="*/ 629960 h 2766859"/>
              <a:gd name="connsiteX1" fmla="*/ 1026695 w 3816706"/>
              <a:gd name="connsiteY1" fmla="*/ 7940 h 2766859"/>
              <a:gd name="connsiteX2" fmla="*/ 2236395 w 3816706"/>
              <a:gd name="connsiteY2" fmla="*/ 288479 h 2766859"/>
              <a:gd name="connsiteX3" fmla="*/ 3809932 w 3816706"/>
              <a:gd name="connsiteY3" fmla="*/ 441173 h 2766859"/>
              <a:gd name="connsiteX4" fmla="*/ 2979782 w 3816706"/>
              <a:gd name="connsiteY4" fmla="*/ 1996538 h 2766859"/>
              <a:gd name="connsiteX5" fmla="*/ 1641592 w 3816706"/>
              <a:gd name="connsiteY5" fmla="*/ 2760020 h 2766859"/>
              <a:gd name="connsiteX6" fmla="*/ 822508 w 3816706"/>
              <a:gd name="connsiteY6" fmla="*/ 1552655 h 2766859"/>
              <a:gd name="connsiteX7" fmla="*/ 1431 w 3816706"/>
              <a:gd name="connsiteY7" fmla="*/ 629960 h 2766859"/>
              <a:gd name="connsiteX0" fmla="*/ 207 w 3815482"/>
              <a:gd name="connsiteY0" fmla="*/ 629960 h 2766859"/>
              <a:gd name="connsiteX1" fmla="*/ 1025471 w 3815482"/>
              <a:gd name="connsiteY1" fmla="*/ 7940 h 2766859"/>
              <a:gd name="connsiteX2" fmla="*/ 2235171 w 3815482"/>
              <a:gd name="connsiteY2" fmla="*/ 288479 h 2766859"/>
              <a:gd name="connsiteX3" fmla="*/ 3808708 w 3815482"/>
              <a:gd name="connsiteY3" fmla="*/ 441173 h 2766859"/>
              <a:gd name="connsiteX4" fmla="*/ 2978558 w 3815482"/>
              <a:gd name="connsiteY4" fmla="*/ 1996538 h 2766859"/>
              <a:gd name="connsiteX5" fmla="*/ 1640368 w 3815482"/>
              <a:gd name="connsiteY5" fmla="*/ 2760020 h 2766859"/>
              <a:gd name="connsiteX6" fmla="*/ 942664 w 3815482"/>
              <a:gd name="connsiteY6" fmla="*/ 1512194 h 2766859"/>
              <a:gd name="connsiteX7" fmla="*/ 207 w 3815482"/>
              <a:gd name="connsiteY7" fmla="*/ 629960 h 2766859"/>
              <a:gd name="connsiteX0" fmla="*/ 145646 w 3960921"/>
              <a:gd name="connsiteY0" fmla="*/ 974056 h 3110955"/>
              <a:gd name="connsiteX1" fmla="*/ 240326 w 3960921"/>
              <a:gd name="connsiteY1" fmla="*/ 4079 h 3110955"/>
              <a:gd name="connsiteX2" fmla="*/ 2380610 w 3960921"/>
              <a:gd name="connsiteY2" fmla="*/ 632575 h 3110955"/>
              <a:gd name="connsiteX3" fmla="*/ 3954147 w 3960921"/>
              <a:gd name="connsiteY3" fmla="*/ 785269 h 3110955"/>
              <a:gd name="connsiteX4" fmla="*/ 3123997 w 3960921"/>
              <a:gd name="connsiteY4" fmla="*/ 2340634 h 3110955"/>
              <a:gd name="connsiteX5" fmla="*/ 1785807 w 3960921"/>
              <a:gd name="connsiteY5" fmla="*/ 3104116 h 3110955"/>
              <a:gd name="connsiteX6" fmla="*/ 1088103 w 3960921"/>
              <a:gd name="connsiteY6" fmla="*/ 1856290 h 3110955"/>
              <a:gd name="connsiteX7" fmla="*/ 145646 w 3960921"/>
              <a:gd name="connsiteY7" fmla="*/ 974056 h 3110955"/>
              <a:gd name="connsiteX0" fmla="*/ 111973 w 3961223"/>
              <a:gd name="connsiteY0" fmla="*/ 1942259 h 4079158"/>
              <a:gd name="connsiteX1" fmla="*/ 206653 w 3961223"/>
              <a:gd name="connsiteY1" fmla="*/ 972282 h 4079158"/>
              <a:gd name="connsiteX2" fmla="*/ 1804771 w 3961223"/>
              <a:gd name="connsiteY2" fmla="*/ 14739 h 4079158"/>
              <a:gd name="connsiteX3" fmla="*/ 3920474 w 3961223"/>
              <a:gd name="connsiteY3" fmla="*/ 1753472 h 4079158"/>
              <a:gd name="connsiteX4" fmla="*/ 3090324 w 3961223"/>
              <a:gd name="connsiteY4" fmla="*/ 3308837 h 4079158"/>
              <a:gd name="connsiteX5" fmla="*/ 1752134 w 3961223"/>
              <a:gd name="connsiteY5" fmla="*/ 4072319 h 4079158"/>
              <a:gd name="connsiteX6" fmla="*/ 1054430 w 3961223"/>
              <a:gd name="connsiteY6" fmla="*/ 2824493 h 4079158"/>
              <a:gd name="connsiteX7" fmla="*/ 111973 w 3961223"/>
              <a:gd name="connsiteY7" fmla="*/ 1942259 h 4079158"/>
              <a:gd name="connsiteX0" fmla="*/ 111973 w 3125640"/>
              <a:gd name="connsiteY0" fmla="*/ 1934333 h 4073180"/>
              <a:gd name="connsiteX1" fmla="*/ 206653 w 3125640"/>
              <a:gd name="connsiteY1" fmla="*/ 964356 h 4073180"/>
              <a:gd name="connsiteX2" fmla="*/ 1804771 w 3125640"/>
              <a:gd name="connsiteY2" fmla="*/ 6813 h 4073180"/>
              <a:gd name="connsiteX3" fmla="*/ 2658116 w 3125640"/>
              <a:gd name="connsiteY3" fmla="*/ 1470417 h 4073180"/>
              <a:gd name="connsiteX4" fmla="*/ 3090324 w 3125640"/>
              <a:gd name="connsiteY4" fmla="*/ 3300911 h 4073180"/>
              <a:gd name="connsiteX5" fmla="*/ 1752134 w 3125640"/>
              <a:gd name="connsiteY5" fmla="*/ 4064393 h 4073180"/>
              <a:gd name="connsiteX6" fmla="*/ 1054430 w 3125640"/>
              <a:gd name="connsiteY6" fmla="*/ 2816567 h 4073180"/>
              <a:gd name="connsiteX7" fmla="*/ 111973 w 3125640"/>
              <a:gd name="connsiteY7" fmla="*/ 1934333 h 4073180"/>
              <a:gd name="connsiteX0" fmla="*/ 111973 w 2920261"/>
              <a:gd name="connsiteY0" fmla="*/ 1934333 h 4067382"/>
              <a:gd name="connsiteX1" fmla="*/ 206653 w 2920261"/>
              <a:gd name="connsiteY1" fmla="*/ 964356 h 4067382"/>
              <a:gd name="connsiteX2" fmla="*/ 1804771 w 2920261"/>
              <a:gd name="connsiteY2" fmla="*/ 6813 h 4067382"/>
              <a:gd name="connsiteX3" fmla="*/ 2658116 w 2920261"/>
              <a:gd name="connsiteY3" fmla="*/ 1470417 h 4067382"/>
              <a:gd name="connsiteX4" fmla="*/ 2863747 w 2920261"/>
              <a:gd name="connsiteY4" fmla="*/ 2386511 h 4067382"/>
              <a:gd name="connsiteX5" fmla="*/ 1752134 w 2920261"/>
              <a:gd name="connsiteY5" fmla="*/ 4064393 h 4067382"/>
              <a:gd name="connsiteX6" fmla="*/ 1054430 w 2920261"/>
              <a:gd name="connsiteY6" fmla="*/ 2816567 h 4067382"/>
              <a:gd name="connsiteX7" fmla="*/ 111973 w 2920261"/>
              <a:gd name="connsiteY7" fmla="*/ 1934333 h 4067382"/>
              <a:gd name="connsiteX0" fmla="*/ 111973 w 2866782"/>
              <a:gd name="connsiteY0" fmla="*/ 1934333 h 3671818"/>
              <a:gd name="connsiteX1" fmla="*/ 206653 w 2866782"/>
              <a:gd name="connsiteY1" fmla="*/ 964356 h 3671818"/>
              <a:gd name="connsiteX2" fmla="*/ 1804771 w 2866782"/>
              <a:gd name="connsiteY2" fmla="*/ 6813 h 3671818"/>
              <a:gd name="connsiteX3" fmla="*/ 2658116 w 2866782"/>
              <a:gd name="connsiteY3" fmla="*/ 1470417 h 3671818"/>
              <a:gd name="connsiteX4" fmla="*/ 2863747 w 2866782"/>
              <a:gd name="connsiteY4" fmla="*/ 2386511 h 3671818"/>
              <a:gd name="connsiteX5" fmla="*/ 2561338 w 2866782"/>
              <a:gd name="connsiteY5" fmla="*/ 3667883 h 3671818"/>
              <a:gd name="connsiteX6" fmla="*/ 1054430 w 2866782"/>
              <a:gd name="connsiteY6" fmla="*/ 2816567 h 3671818"/>
              <a:gd name="connsiteX7" fmla="*/ 111973 w 2866782"/>
              <a:gd name="connsiteY7" fmla="*/ 1934333 h 3671818"/>
              <a:gd name="connsiteX0" fmla="*/ 116798 w 2871607"/>
              <a:gd name="connsiteY0" fmla="*/ 1934333 h 3671818"/>
              <a:gd name="connsiteX1" fmla="*/ 211478 w 2871607"/>
              <a:gd name="connsiteY1" fmla="*/ 964356 h 3671818"/>
              <a:gd name="connsiteX2" fmla="*/ 1809596 w 2871607"/>
              <a:gd name="connsiteY2" fmla="*/ 6813 h 3671818"/>
              <a:gd name="connsiteX3" fmla="*/ 2662941 w 2871607"/>
              <a:gd name="connsiteY3" fmla="*/ 1470417 h 3671818"/>
              <a:gd name="connsiteX4" fmla="*/ 2868572 w 2871607"/>
              <a:gd name="connsiteY4" fmla="*/ 2386511 h 3671818"/>
              <a:gd name="connsiteX5" fmla="*/ 2566163 w 2871607"/>
              <a:gd name="connsiteY5" fmla="*/ 3667883 h 3671818"/>
              <a:gd name="connsiteX6" fmla="*/ 1132084 w 2871607"/>
              <a:gd name="connsiteY6" fmla="*/ 3463929 h 3671818"/>
              <a:gd name="connsiteX7" fmla="*/ 116798 w 2871607"/>
              <a:gd name="connsiteY7" fmla="*/ 1934333 h 3671818"/>
              <a:gd name="connsiteX0" fmla="*/ 388403 w 2722426"/>
              <a:gd name="connsiteY0" fmla="*/ 2388189 h 3672520"/>
              <a:gd name="connsiteX1" fmla="*/ 62297 w 2722426"/>
              <a:gd name="connsiteY1" fmla="*/ 965058 h 3672520"/>
              <a:gd name="connsiteX2" fmla="*/ 1660415 w 2722426"/>
              <a:gd name="connsiteY2" fmla="*/ 7515 h 3672520"/>
              <a:gd name="connsiteX3" fmla="*/ 2513760 w 2722426"/>
              <a:gd name="connsiteY3" fmla="*/ 1471119 h 3672520"/>
              <a:gd name="connsiteX4" fmla="*/ 2719391 w 2722426"/>
              <a:gd name="connsiteY4" fmla="*/ 2387213 h 3672520"/>
              <a:gd name="connsiteX5" fmla="*/ 2416982 w 2722426"/>
              <a:gd name="connsiteY5" fmla="*/ 3668585 h 3672520"/>
              <a:gd name="connsiteX6" fmla="*/ 982903 w 2722426"/>
              <a:gd name="connsiteY6" fmla="*/ 3464631 h 3672520"/>
              <a:gd name="connsiteX7" fmla="*/ 388403 w 2722426"/>
              <a:gd name="connsiteY7" fmla="*/ 2388189 h 3672520"/>
              <a:gd name="connsiteX0" fmla="*/ 386520 w 2720543"/>
              <a:gd name="connsiteY0" fmla="*/ 2388189 h 3728389"/>
              <a:gd name="connsiteX1" fmla="*/ 60414 w 2720543"/>
              <a:gd name="connsiteY1" fmla="*/ 965058 h 3728389"/>
              <a:gd name="connsiteX2" fmla="*/ 1658532 w 2720543"/>
              <a:gd name="connsiteY2" fmla="*/ 7515 h 3728389"/>
              <a:gd name="connsiteX3" fmla="*/ 2511877 w 2720543"/>
              <a:gd name="connsiteY3" fmla="*/ 1471119 h 3728389"/>
              <a:gd name="connsiteX4" fmla="*/ 2717508 w 2720543"/>
              <a:gd name="connsiteY4" fmla="*/ 2387213 h 3728389"/>
              <a:gd name="connsiteX5" fmla="*/ 2415099 w 2720543"/>
              <a:gd name="connsiteY5" fmla="*/ 3668585 h 3728389"/>
              <a:gd name="connsiteX6" fmla="*/ 867731 w 2720543"/>
              <a:gd name="connsiteY6" fmla="*/ 3642655 h 3728389"/>
              <a:gd name="connsiteX7" fmla="*/ 386520 w 2720543"/>
              <a:gd name="connsiteY7" fmla="*/ 2388189 h 3728389"/>
              <a:gd name="connsiteX0" fmla="*/ 681022 w 3015045"/>
              <a:gd name="connsiteY0" fmla="*/ 2380787 h 3720987"/>
              <a:gd name="connsiteX1" fmla="*/ 41247 w 3015045"/>
              <a:gd name="connsiteY1" fmla="*/ 1389730 h 3720987"/>
              <a:gd name="connsiteX2" fmla="*/ 1953034 w 3015045"/>
              <a:gd name="connsiteY2" fmla="*/ 113 h 3720987"/>
              <a:gd name="connsiteX3" fmla="*/ 2806379 w 3015045"/>
              <a:gd name="connsiteY3" fmla="*/ 1463717 h 3720987"/>
              <a:gd name="connsiteX4" fmla="*/ 3012010 w 3015045"/>
              <a:gd name="connsiteY4" fmla="*/ 2379811 h 3720987"/>
              <a:gd name="connsiteX5" fmla="*/ 2709601 w 3015045"/>
              <a:gd name="connsiteY5" fmla="*/ 3661183 h 3720987"/>
              <a:gd name="connsiteX6" fmla="*/ 1162233 w 3015045"/>
              <a:gd name="connsiteY6" fmla="*/ 3635253 h 3720987"/>
              <a:gd name="connsiteX7" fmla="*/ 681022 w 3015045"/>
              <a:gd name="connsiteY7" fmla="*/ 2380787 h 3720987"/>
              <a:gd name="connsiteX0" fmla="*/ 646566 w 3036949"/>
              <a:gd name="connsiteY0" fmla="*/ 1750079 h 3090279"/>
              <a:gd name="connsiteX1" fmla="*/ 6791 w 3036949"/>
              <a:gd name="connsiteY1" fmla="*/ 759022 h 3090279"/>
              <a:gd name="connsiteX2" fmla="*/ 479390 w 3036949"/>
              <a:gd name="connsiteY2" fmla="*/ 234 h 3090279"/>
              <a:gd name="connsiteX3" fmla="*/ 2771923 w 3036949"/>
              <a:gd name="connsiteY3" fmla="*/ 833009 h 3090279"/>
              <a:gd name="connsiteX4" fmla="*/ 2977554 w 3036949"/>
              <a:gd name="connsiteY4" fmla="*/ 1749103 h 3090279"/>
              <a:gd name="connsiteX5" fmla="*/ 2675145 w 3036949"/>
              <a:gd name="connsiteY5" fmla="*/ 3030475 h 3090279"/>
              <a:gd name="connsiteX6" fmla="*/ 1127777 w 3036949"/>
              <a:gd name="connsiteY6" fmla="*/ 3004545 h 3090279"/>
              <a:gd name="connsiteX7" fmla="*/ 646566 w 3036949"/>
              <a:gd name="connsiteY7" fmla="*/ 1750079 h 3090279"/>
              <a:gd name="connsiteX0" fmla="*/ 646566 w 3036949"/>
              <a:gd name="connsiteY0" fmla="*/ 1969705 h 3309905"/>
              <a:gd name="connsiteX1" fmla="*/ 6791 w 3036949"/>
              <a:gd name="connsiteY1" fmla="*/ 978648 h 3309905"/>
              <a:gd name="connsiteX2" fmla="*/ 479390 w 3036949"/>
              <a:gd name="connsiteY2" fmla="*/ 219860 h 3309905"/>
              <a:gd name="connsiteX3" fmla="*/ 2771923 w 3036949"/>
              <a:gd name="connsiteY3" fmla="*/ 1052635 h 3309905"/>
              <a:gd name="connsiteX4" fmla="*/ 2977554 w 3036949"/>
              <a:gd name="connsiteY4" fmla="*/ 1968729 h 3309905"/>
              <a:gd name="connsiteX5" fmla="*/ 2675145 w 3036949"/>
              <a:gd name="connsiteY5" fmla="*/ 3250101 h 3309905"/>
              <a:gd name="connsiteX6" fmla="*/ 1127777 w 3036949"/>
              <a:gd name="connsiteY6" fmla="*/ 3224171 h 3309905"/>
              <a:gd name="connsiteX7" fmla="*/ 646566 w 3036949"/>
              <a:gd name="connsiteY7" fmla="*/ 1969705 h 3309905"/>
              <a:gd name="connsiteX0" fmla="*/ 646566 w 3036949"/>
              <a:gd name="connsiteY0" fmla="*/ 1750079 h 3090279"/>
              <a:gd name="connsiteX1" fmla="*/ 6791 w 3036949"/>
              <a:gd name="connsiteY1" fmla="*/ 759022 h 3090279"/>
              <a:gd name="connsiteX2" fmla="*/ 479390 w 3036949"/>
              <a:gd name="connsiteY2" fmla="*/ 234 h 3090279"/>
              <a:gd name="connsiteX3" fmla="*/ 2771923 w 3036949"/>
              <a:gd name="connsiteY3" fmla="*/ 833009 h 3090279"/>
              <a:gd name="connsiteX4" fmla="*/ 2977554 w 3036949"/>
              <a:gd name="connsiteY4" fmla="*/ 1749103 h 3090279"/>
              <a:gd name="connsiteX5" fmla="*/ 2675145 w 3036949"/>
              <a:gd name="connsiteY5" fmla="*/ 3030475 h 3090279"/>
              <a:gd name="connsiteX6" fmla="*/ 1127777 w 3036949"/>
              <a:gd name="connsiteY6" fmla="*/ 3004545 h 3090279"/>
              <a:gd name="connsiteX7" fmla="*/ 646566 w 3036949"/>
              <a:gd name="connsiteY7" fmla="*/ 1750079 h 3090279"/>
              <a:gd name="connsiteX0" fmla="*/ 662836 w 3053219"/>
              <a:gd name="connsiteY0" fmla="*/ 1750095 h 3090295"/>
              <a:gd name="connsiteX1" fmla="*/ 23061 w 3053219"/>
              <a:gd name="connsiteY1" fmla="*/ 759038 h 3090295"/>
              <a:gd name="connsiteX2" fmla="*/ 495660 w 3053219"/>
              <a:gd name="connsiteY2" fmla="*/ 250 h 3090295"/>
              <a:gd name="connsiteX3" fmla="*/ 2788193 w 3053219"/>
              <a:gd name="connsiteY3" fmla="*/ 833025 h 3090295"/>
              <a:gd name="connsiteX4" fmla="*/ 2993824 w 3053219"/>
              <a:gd name="connsiteY4" fmla="*/ 1749119 h 3090295"/>
              <a:gd name="connsiteX5" fmla="*/ 2691415 w 3053219"/>
              <a:gd name="connsiteY5" fmla="*/ 3030491 h 3090295"/>
              <a:gd name="connsiteX6" fmla="*/ 1144047 w 3053219"/>
              <a:gd name="connsiteY6" fmla="*/ 3004561 h 3090295"/>
              <a:gd name="connsiteX7" fmla="*/ 662836 w 3053219"/>
              <a:gd name="connsiteY7" fmla="*/ 1750095 h 3090295"/>
              <a:gd name="connsiteX0" fmla="*/ 662836 w 3053219"/>
              <a:gd name="connsiteY0" fmla="*/ 1799637 h 3139837"/>
              <a:gd name="connsiteX1" fmla="*/ 23061 w 3053219"/>
              <a:gd name="connsiteY1" fmla="*/ 808580 h 3139837"/>
              <a:gd name="connsiteX2" fmla="*/ 495660 w 3053219"/>
              <a:gd name="connsiteY2" fmla="*/ 49792 h 3139837"/>
              <a:gd name="connsiteX3" fmla="*/ 2788193 w 3053219"/>
              <a:gd name="connsiteY3" fmla="*/ 882567 h 3139837"/>
              <a:gd name="connsiteX4" fmla="*/ 2993824 w 3053219"/>
              <a:gd name="connsiteY4" fmla="*/ 1798661 h 3139837"/>
              <a:gd name="connsiteX5" fmla="*/ 2691415 w 3053219"/>
              <a:gd name="connsiteY5" fmla="*/ 3080033 h 3139837"/>
              <a:gd name="connsiteX6" fmla="*/ 1144047 w 3053219"/>
              <a:gd name="connsiteY6" fmla="*/ 3054103 h 3139837"/>
              <a:gd name="connsiteX7" fmla="*/ 662836 w 3053219"/>
              <a:gd name="connsiteY7" fmla="*/ 1799637 h 3139837"/>
              <a:gd name="connsiteX0" fmla="*/ 662836 w 3009793"/>
              <a:gd name="connsiteY0" fmla="*/ 1806529 h 3146729"/>
              <a:gd name="connsiteX1" fmla="*/ 23061 w 3009793"/>
              <a:gd name="connsiteY1" fmla="*/ 815472 h 3146729"/>
              <a:gd name="connsiteX2" fmla="*/ 495660 w 3009793"/>
              <a:gd name="connsiteY2" fmla="*/ 56684 h 3146729"/>
              <a:gd name="connsiteX3" fmla="*/ 1317487 w 3009793"/>
              <a:gd name="connsiteY3" fmla="*/ 148274 h 3146729"/>
              <a:gd name="connsiteX4" fmla="*/ 2788193 w 3009793"/>
              <a:gd name="connsiteY4" fmla="*/ 889459 h 3146729"/>
              <a:gd name="connsiteX5" fmla="*/ 2993824 w 3009793"/>
              <a:gd name="connsiteY5" fmla="*/ 1805553 h 3146729"/>
              <a:gd name="connsiteX6" fmla="*/ 2691415 w 3009793"/>
              <a:gd name="connsiteY6" fmla="*/ 3086925 h 3146729"/>
              <a:gd name="connsiteX7" fmla="*/ 1144047 w 3009793"/>
              <a:gd name="connsiteY7" fmla="*/ 3060995 h 3146729"/>
              <a:gd name="connsiteX8" fmla="*/ 662836 w 3009793"/>
              <a:gd name="connsiteY8" fmla="*/ 1806529 h 3146729"/>
              <a:gd name="connsiteX0" fmla="*/ 662836 w 3010153"/>
              <a:gd name="connsiteY0" fmla="*/ 2182789 h 3522989"/>
              <a:gd name="connsiteX1" fmla="*/ 23061 w 3010153"/>
              <a:gd name="connsiteY1" fmla="*/ 1191732 h 3522989"/>
              <a:gd name="connsiteX2" fmla="*/ 495660 w 3010153"/>
              <a:gd name="connsiteY2" fmla="*/ 432944 h 3522989"/>
              <a:gd name="connsiteX3" fmla="*/ 1308261 w 3010153"/>
              <a:gd name="connsiteY3" fmla="*/ 31968 h 3522989"/>
              <a:gd name="connsiteX4" fmla="*/ 2788193 w 3010153"/>
              <a:gd name="connsiteY4" fmla="*/ 1265719 h 3522989"/>
              <a:gd name="connsiteX5" fmla="*/ 2993824 w 3010153"/>
              <a:gd name="connsiteY5" fmla="*/ 2181813 h 3522989"/>
              <a:gd name="connsiteX6" fmla="*/ 2691415 w 3010153"/>
              <a:gd name="connsiteY6" fmla="*/ 3463185 h 3522989"/>
              <a:gd name="connsiteX7" fmla="*/ 1144047 w 3010153"/>
              <a:gd name="connsiteY7" fmla="*/ 3437255 h 3522989"/>
              <a:gd name="connsiteX8" fmla="*/ 662836 w 3010153"/>
              <a:gd name="connsiteY8" fmla="*/ 2182789 h 3522989"/>
              <a:gd name="connsiteX0" fmla="*/ 662836 w 3010153"/>
              <a:gd name="connsiteY0" fmla="*/ 2150821 h 3491021"/>
              <a:gd name="connsiteX1" fmla="*/ 23061 w 3010153"/>
              <a:gd name="connsiteY1" fmla="*/ 1159764 h 3491021"/>
              <a:gd name="connsiteX2" fmla="*/ 495660 w 3010153"/>
              <a:gd name="connsiteY2" fmla="*/ 400976 h 3491021"/>
              <a:gd name="connsiteX3" fmla="*/ 1308261 w 3010153"/>
              <a:gd name="connsiteY3" fmla="*/ 0 h 3491021"/>
              <a:gd name="connsiteX4" fmla="*/ 2788193 w 3010153"/>
              <a:gd name="connsiteY4" fmla="*/ 1233751 h 3491021"/>
              <a:gd name="connsiteX5" fmla="*/ 2993824 w 3010153"/>
              <a:gd name="connsiteY5" fmla="*/ 2149845 h 3491021"/>
              <a:gd name="connsiteX6" fmla="*/ 2691415 w 3010153"/>
              <a:gd name="connsiteY6" fmla="*/ 3431217 h 3491021"/>
              <a:gd name="connsiteX7" fmla="*/ 1144047 w 3010153"/>
              <a:gd name="connsiteY7" fmla="*/ 3405287 h 3491021"/>
              <a:gd name="connsiteX8" fmla="*/ 662836 w 3010153"/>
              <a:gd name="connsiteY8" fmla="*/ 2150821 h 3491021"/>
              <a:gd name="connsiteX0" fmla="*/ 662836 w 3032095"/>
              <a:gd name="connsiteY0" fmla="*/ 2150821 h 3491021"/>
              <a:gd name="connsiteX1" fmla="*/ 23061 w 3032095"/>
              <a:gd name="connsiteY1" fmla="*/ 1159764 h 3491021"/>
              <a:gd name="connsiteX2" fmla="*/ 495660 w 3032095"/>
              <a:gd name="connsiteY2" fmla="*/ 400976 h 3491021"/>
              <a:gd name="connsiteX3" fmla="*/ 1308261 w 3032095"/>
              <a:gd name="connsiteY3" fmla="*/ 0 h 3491021"/>
              <a:gd name="connsiteX4" fmla="*/ 2206983 w 3032095"/>
              <a:gd name="connsiteY4" fmla="*/ 559714 h 3491021"/>
              <a:gd name="connsiteX5" fmla="*/ 2993824 w 3032095"/>
              <a:gd name="connsiteY5" fmla="*/ 2149845 h 3491021"/>
              <a:gd name="connsiteX6" fmla="*/ 2691415 w 3032095"/>
              <a:gd name="connsiteY6" fmla="*/ 3431217 h 3491021"/>
              <a:gd name="connsiteX7" fmla="*/ 1144047 w 3032095"/>
              <a:gd name="connsiteY7" fmla="*/ 3405287 h 3491021"/>
              <a:gd name="connsiteX8" fmla="*/ 662836 w 3032095"/>
              <a:gd name="connsiteY8" fmla="*/ 2150821 h 3491021"/>
              <a:gd name="connsiteX0" fmla="*/ 662836 w 3001635"/>
              <a:gd name="connsiteY0" fmla="*/ 2150821 h 3491021"/>
              <a:gd name="connsiteX1" fmla="*/ 23061 w 3001635"/>
              <a:gd name="connsiteY1" fmla="*/ 1159764 h 3491021"/>
              <a:gd name="connsiteX2" fmla="*/ 495660 w 3001635"/>
              <a:gd name="connsiteY2" fmla="*/ 400976 h 3491021"/>
              <a:gd name="connsiteX3" fmla="*/ 1308261 w 3001635"/>
              <a:gd name="connsiteY3" fmla="*/ 0 h 3491021"/>
              <a:gd name="connsiteX4" fmla="*/ 2206983 w 3001635"/>
              <a:gd name="connsiteY4" fmla="*/ 559714 h 3491021"/>
              <a:gd name="connsiteX5" fmla="*/ 2627517 w 3001635"/>
              <a:gd name="connsiteY5" fmla="*/ 1183885 h 3491021"/>
              <a:gd name="connsiteX6" fmla="*/ 2993824 w 3001635"/>
              <a:gd name="connsiteY6" fmla="*/ 2149845 h 3491021"/>
              <a:gd name="connsiteX7" fmla="*/ 2691415 w 3001635"/>
              <a:gd name="connsiteY7" fmla="*/ 3431217 h 3491021"/>
              <a:gd name="connsiteX8" fmla="*/ 1144047 w 3001635"/>
              <a:gd name="connsiteY8" fmla="*/ 3405287 h 3491021"/>
              <a:gd name="connsiteX9" fmla="*/ 662836 w 3001635"/>
              <a:gd name="connsiteY9" fmla="*/ 2150821 h 3491021"/>
              <a:gd name="connsiteX0" fmla="*/ 662836 w 3020923"/>
              <a:gd name="connsiteY0" fmla="*/ 2150821 h 3491021"/>
              <a:gd name="connsiteX1" fmla="*/ 23061 w 3020923"/>
              <a:gd name="connsiteY1" fmla="*/ 1159764 h 3491021"/>
              <a:gd name="connsiteX2" fmla="*/ 495660 w 3020923"/>
              <a:gd name="connsiteY2" fmla="*/ 400976 h 3491021"/>
              <a:gd name="connsiteX3" fmla="*/ 1308261 w 3020923"/>
              <a:gd name="connsiteY3" fmla="*/ 0 h 3491021"/>
              <a:gd name="connsiteX4" fmla="*/ 2206983 w 3020923"/>
              <a:gd name="connsiteY4" fmla="*/ 559714 h 3491021"/>
              <a:gd name="connsiteX5" fmla="*/ 2359975 w 3020923"/>
              <a:gd name="connsiteY5" fmla="*/ 1253016 h 3491021"/>
              <a:gd name="connsiteX6" fmla="*/ 2993824 w 3020923"/>
              <a:gd name="connsiteY6" fmla="*/ 2149845 h 3491021"/>
              <a:gd name="connsiteX7" fmla="*/ 2691415 w 3020923"/>
              <a:gd name="connsiteY7" fmla="*/ 3431217 h 3491021"/>
              <a:gd name="connsiteX8" fmla="*/ 1144047 w 3020923"/>
              <a:gd name="connsiteY8" fmla="*/ 3405287 h 3491021"/>
              <a:gd name="connsiteX9" fmla="*/ 662836 w 3020923"/>
              <a:gd name="connsiteY9" fmla="*/ 2150821 h 3491021"/>
              <a:gd name="connsiteX0" fmla="*/ 662836 w 3020923"/>
              <a:gd name="connsiteY0" fmla="*/ 2150821 h 3491021"/>
              <a:gd name="connsiteX1" fmla="*/ 23061 w 3020923"/>
              <a:gd name="connsiteY1" fmla="*/ 1159764 h 3491021"/>
              <a:gd name="connsiteX2" fmla="*/ 495660 w 3020923"/>
              <a:gd name="connsiteY2" fmla="*/ 400976 h 3491021"/>
              <a:gd name="connsiteX3" fmla="*/ 1308261 w 3020923"/>
              <a:gd name="connsiteY3" fmla="*/ 0 h 3491021"/>
              <a:gd name="connsiteX4" fmla="*/ 2206983 w 3020923"/>
              <a:gd name="connsiteY4" fmla="*/ 559714 h 3491021"/>
              <a:gd name="connsiteX5" fmla="*/ 2359975 w 3020923"/>
              <a:gd name="connsiteY5" fmla="*/ 1253016 h 3491021"/>
              <a:gd name="connsiteX6" fmla="*/ 2993824 w 3020923"/>
              <a:gd name="connsiteY6" fmla="*/ 2149845 h 3491021"/>
              <a:gd name="connsiteX7" fmla="*/ 2691415 w 3020923"/>
              <a:gd name="connsiteY7" fmla="*/ 3431217 h 3491021"/>
              <a:gd name="connsiteX8" fmla="*/ 1144047 w 3020923"/>
              <a:gd name="connsiteY8" fmla="*/ 3405287 h 3491021"/>
              <a:gd name="connsiteX9" fmla="*/ 662836 w 3020923"/>
              <a:gd name="connsiteY9" fmla="*/ 2150821 h 3491021"/>
              <a:gd name="connsiteX0" fmla="*/ 662836 w 3020923"/>
              <a:gd name="connsiteY0" fmla="*/ 2150821 h 3491021"/>
              <a:gd name="connsiteX1" fmla="*/ 23061 w 3020923"/>
              <a:gd name="connsiteY1" fmla="*/ 1159764 h 3491021"/>
              <a:gd name="connsiteX2" fmla="*/ 495660 w 3020923"/>
              <a:gd name="connsiteY2" fmla="*/ 400976 h 3491021"/>
              <a:gd name="connsiteX3" fmla="*/ 1308261 w 3020923"/>
              <a:gd name="connsiteY3" fmla="*/ 0 h 3491021"/>
              <a:gd name="connsiteX4" fmla="*/ 2206983 w 3020923"/>
              <a:gd name="connsiteY4" fmla="*/ 559714 h 3491021"/>
              <a:gd name="connsiteX5" fmla="*/ 2359975 w 3020923"/>
              <a:gd name="connsiteY5" fmla="*/ 1253016 h 3491021"/>
              <a:gd name="connsiteX6" fmla="*/ 2993824 w 3020923"/>
              <a:gd name="connsiteY6" fmla="*/ 2149845 h 3491021"/>
              <a:gd name="connsiteX7" fmla="*/ 2691415 w 3020923"/>
              <a:gd name="connsiteY7" fmla="*/ 3431217 h 3491021"/>
              <a:gd name="connsiteX8" fmla="*/ 1144047 w 3020923"/>
              <a:gd name="connsiteY8" fmla="*/ 3405287 h 3491021"/>
              <a:gd name="connsiteX9" fmla="*/ 662836 w 3020923"/>
              <a:gd name="connsiteY9" fmla="*/ 2150821 h 3491021"/>
              <a:gd name="connsiteX0" fmla="*/ 662836 w 3020923"/>
              <a:gd name="connsiteY0" fmla="*/ 2150821 h 3491021"/>
              <a:gd name="connsiteX1" fmla="*/ 23061 w 3020923"/>
              <a:gd name="connsiteY1" fmla="*/ 1159764 h 3491021"/>
              <a:gd name="connsiteX2" fmla="*/ 495660 w 3020923"/>
              <a:gd name="connsiteY2" fmla="*/ 400976 h 3491021"/>
              <a:gd name="connsiteX3" fmla="*/ 1308261 w 3020923"/>
              <a:gd name="connsiteY3" fmla="*/ 0 h 3491021"/>
              <a:gd name="connsiteX4" fmla="*/ 2206983 w 3020923"/>
              <a:gd name="connsiteY4" fmla="*/ 559714 h 3491021"/>
              <a:gd name="connsiteX5" fmla="*/ 2359975 w 3020923"/>
              <a:gd name="connsiteY5" fmla="*/ 1253016 h 3491021"/>
              <a:gd name="connsiteX6" fmla="*/ 2993824 w 3020923"/>
              <a:gd name="connsiteY6" fmla="*/ 2149845 h 3491021"/>
              <a:gd name="connsiteX7" fmla="*/ 2691415 w 3020923"/>
              <a:gd name="connsiteY7" fmla="*/ 3431217 h 3491021"/>
              <a:gd name="connsiteX8" fmla="*/ 1144047 w 3020923"/>
              <a:gd name="connsiteY8" fmla="*/ 3405287 h 3491021"/>
              <a:gd name="connsiteX9" fmla="*/ 662836 w 3020923"/>
              <a:gd name="connsiteY9" fmla="*/ 2150821 h 3491021"/>
              <a:gd name="connsiteX0" fmla="*/ 662836 w 3020923"/>
              <a:gd name="connsiteY0" fmla="*/ 2150821 h 3491021"/>
              <a:gd name="connsiteX1" fmla="*/ 23061 w 3020923"/>
              <a:gd name="connsiteY1" fmla="*/ 1159764 h 3491021"/>
              <a:gd name="connsiteX2" fmla="*/ 495660 w 3020923"/>
              <a:gd name="connsiteY2" fmla="*/ 400976 h 3491021"/>
              <a:gd name="connsiteX3" fmla="*/ 1308261 w 3020923"/>
              <a:gd name="connsiteY3" fmla="*/ 0 h 3491021"/>
              <a:gd name="connsiteX4" fmla="*/ 2206983 w 3020923"/>
              <a:gd name="connsiteY4" fmla="*/ 559714 h 3491021"/>
              <a:gd name="connsiteX5" fmla="*/ 2359975 w 3020923"/>
              <a:gd name="connsiteY5" fmla="*/ 1253016 h 3491021"/>
              <a:gd name="connsiteX6" fmla="*/ 2993824 w 3020923"/>
              <a:gd name="connsiteY6" fmla="*/ 2149845 h 3491021"/>
              <a:gd name="connsiteX7" fmla="*/ 2691415 w 3020923"/>
              <a:gd name="connsiteY7" fmla="*/ 3431217 h 3491021"/>
              <a:gd name="connsiteX8" fmla="*/ 1144047 w 3020923"/>
              <a:gd name="connsiteY8" fmla="*/ 3405287 h 3491021"/>
              <a:gd name="connsiteX9" fmla="*/ 662836 w 3020923"/>
              <a:gd name="connsiteY9" fmla="*/ 2150821 h 3491021"/>
              <a:gd name="connsiteX0" fmla="*/ 662836 w 3024285"/>
              <a:gd name="connsiteY0" fmla="*/ 2150821 h 3491021"/>
              <a:gd name="connsiteX1" fmla="*/ 23061 w 3024285"/>
              <a:gd name="connsiteY1" fmla="*/ 1159764 h 3491021"/>
              <a:gd name="connsiteX2" fmla="*/ 495660 w 3024285"/>
              <a:gd name="connsiteY2" fmla="*/ 400976 h 3491021"/>
              <a:gd name="connsiteX3" fmla="*/ 1308261 w 3024285"/>
              <a:gd name="connsiteY3" fmla="*/ 0 h 3491021"/>
              <a:gd name="connsiteX4" fmla="*/ 2206983 w 3024285"/>
              <a:gd name="connsiteY4" fmla="*/ 559714 h 3491021"/>
              <a:gd name="connsiteX5" fmla="*/ 2313848 w 3024285"/>
              <a:gd name="connsiteY5" fmla="*/ 1209809 h 3491021"/>
              <a:gd name="connsiteX6" fmla="*/ 2993824 w 3024285"/>
              <a:gd name="connsiteY6" fmla="*/ 2149845 h 3491021"/>
              <a:gd name="connsiteX7" fmla="*/ 2691415 w 3024285"/>
              <a:gd name="connsiteY7" fmla="*/ 3431217 h 3491021"/>
              <a:gd name="connsiteX8" fmla="*/ 1144047 w 3024285"/>
              <a:gd name="connsiteY8" fmla="*/ 3405287 h 3491021"/>
              <a:gd name="connsiteX9" fmla="*/ 662836 w 3024285"/>
              <a:gd name="connsiteY9" fmla="*/ 2150821 h 3491021"/>
              <a:gd name="connsiteX0" fmla="*/ 662836 w 3008227"/>
              <a:gd name="connsiteY0" fmla="*/ 2150821 h 3491021"/>
              <a:gd name="connsiteX1" fmla="*/ 23061 w 3008227"/>
              <a:gd name="connsiteY1" fmla="*/ 1159764 h 3491021"/>
              <a:gd name="connsiteX2" fmla="*/ 495660 w 3008227"/>
              <a:gd name="connsiteY2" fmla="*/ 400976 h 3491021"/>
              <a:gd name="connsiteX3" fmla="*/ 1308261 w 3008227"/>
              <a:gd name="connsiteY3" fmla="*/ 0 h 3491021"/>
              <a:gd name="connsiteX4" fmla="*/ 2206983 w 3008227"/>
              <a:gd name="connsiteY4" fmla="*/ 559714 h 3491021"/>
              <a:gd name="connsiteX5" fmla="*/ 2313848 w 3008227"/>
              <a:gd name="connsiteY5" fmla="*/ 1209809 h 3491021"/>
              <a:gd name="connsiteX6" fmla="*/ 2535260 w 3008227"/>
              <a:gd name="connsiteY6" fmla="*/ 1477697 h 3491021"/>
              <a:gd name="connsiteX7" fmla="*/ 2993824 w 3008227"/>
              <a:gd name="connsiteY7" fmla="*/ 2149845 h 3491021"/>
              <a:gd name="connsiteX8" fmla="*/ 2691415 w 3008227"/>
              <a:gd name="connsiteY8" fmla="*/ 3431217 h 3491021"/>
              <a:gd name="connsiteX9" fmla="*/ 1144047 w 3008227"/>
              <a:gd name="connsiteY9" fmla="*/ 3405287 h 3491021"/>
              <a:gd name="connsiteX10" fmla="*/ 662836 w 3008227"/>
              <a:gd name="connsiteY10" fmla="*/ 2150821 h 3491021"/>
              <a:gd name="connsiteX0" fmla="*/ 662836 w 3115786"/>
              <a:gd name="connsiteY0" fmla="*/ 2150821 h 3491021"/>
              <a:gd name="connsiteX1" fmla="*/ 23061 w 3115786"/>
              <a:gd name="connsiteY1" fmla="*/ 1159764 h 3491021"/>
              <a:gd name="connsiteX2" fmla="*/ 495660 w 3115786"/>
              <a:gd name="connsiteY2" fmla="*/ 400976 h 3491021"/>
              <a:gd name="connsiteX3" fmla="*/ 1308261 w 3115786"/>
              <a:gd name="connsiteY3" fmla="*/ 0 h 3491021"/>
              <a:gd name="connsiteX4" fmla="*/ 2206983 w 3115786"/>
              <a:gd name="connsiteY4" fmla="*/ 559714 h 3491021"/>
              <a:gd name="connsiteX5" fmla="*/ 2313848 w 3115786"/>
              <a:gd name="connsiteY5" fmla="*/ 1209809 h 3491021"/>
              <a:gd name="connsiteX6" fmla="*/ 3070344 w 3115786"/>
              <a:gd name="connsiteY6" fmla="*/ 1339432 h 3491021"/>
              <a:gd name="connsiteX7" fmla="*/ 2993824 w 3115786"/>
              <a:gd name="connsiteY7" fmla="*/ 2149845 h 3491021"/>
              <a:gd name="connsiteX8" fmla="*/ 2691415 w 3115786"/>
              <a:gd name="connsiteY8" fmla="*/ 3431217 h 3491021"/>
              <a:gd name="connsiteX9" fmla="*/ 1144047 w 3115786"/>
              <a:gd name="connsiteY9" fmla="*/ 3405287 h 3491021"/>
              <a:gd name="connsiteX10" fmla="*/ 662836 w 3115786"/>
              <a:gd name="connsiteY10" fmla="*/ 2150821 h 3491021"/>
              <a:gd name="connsiteX0" fmla="*/ 662836 w 3083700"/>
              <a:gd name="connsiteY0" fmla="*/ 2150821 h 3491021"/>
              <a:gd name="connsiteX1" fmla="*/ 23061 w 3083700"/>
              <a:gd name="connsiteY1" fmla="*/ 1159764 h 3491021"/>
              <a:gd name="connsiteX2" fmla="*/ 495660 w 3083700"/>
              <a:gd name="connsiteY2" fmla="*/ 400976 h 3491021"/>
              <a:gd name="connsiteX3" fmla="*/ 1308261 w 3083700"/>
              <a:gd name="connsiteY3" fmla="*/ 0 h 3491021"/>
              <a:gd name="connsiteX4" fmla="*/ 2206983 w 3083700"/>
              <a:gd name="connsiteY4" fmla="*/ 559714 h 3491021"/>
              <a:gd name="connsiteX5" fmla="*/ 2313848 w 3083700"/>
              <a:gd name="connsiteY5" fmla="*/ 1209809 h 3491021"/>
              <a:gd name="connsiteX6" fmla="*/ 3070344 w 3083700"/>
              <a:gd name="connsiteY6" fmla="*/ 1339432 h 3491021"/>
              <a:gd name="connsiteX7" fmla="*/ 2477192 w 3083700"/>
              <a:gd name="connsiteY7" fmla="*/ 1916524 h 3491021"/>
              <a:gd name="connsiteX8" fmla="*/ 2691415 w 3083700"/>
              <a:gd name="connsiteY8" fmla="*/ 3431217 h 3491021"/>
              <a:gd name="connsiteX9" fmla="*/ 1144047 w 3083700"/>
              <a:gd name="connsiteY9" fmla="*/ 3405287 h 3491021"/>
              <a:gd name="connsiteX10" fmla="*/ 662836 w 3083700"/>
              <a:gd name="connsiteY10" fmla="*/ 2150821 h 3491021"/>
              <a:gd name="connsiteX0" fmla="*/ 662836 w 3084094"/>
              <a:gd name="connsiteY0" fmla="*/ 2150821 h 3562605"/>
              <a:gd name="connsiteX1" fmla="*/ 23061 w 3084094"/>
              <a:gd name="connsiteY1" fmla="*/ 1159764 h 3562605"/>
              <a:gd name="connsiteX2" fmla="*/ 495660 w 3084094"/>
              <a:gd name="connsiteY2" fmla="*/ 400976 h 3562605"/>
              <a:gd name="connsiteX3" fmla="*/ 1308261 w 3084094"/>
              <a:gd name="connsiteY3" fmla="*/ 0 h 3562605"/>
              <a:gd name="connsiteX4" fmla="*/ 2206983 w 3084094"/>
              <a:gd name="connsiteY4" fmla="*/ 559714 h 3562605"/>
              <a:gd name="connsiteX5" fmla="*/ 2313848 w 3084094"/>
              <a:gd name="connsiteY5" fmla="*/ 1209809 h 3562605"/>
              <a:gd name="connsiteX6" fmla="*/ 3070344 w 3084094"/>
              <a:gd name="connsiteY6" fmla="*/ 1339432 h 3562605"/>
              <a:gd name="connsiteX7" fmla="*/ 2477192 w 3084094"/>
              <a:gd name="connsiteY7" fmla="*/ 1916524 h 3562605"/>
              <a:gd name="connsiteX8" fmla="*/ 2562939 w 3084094"/>
              <a:gd name="connsiteY8" fmla="*/ 2376412 h 3562605"/>
              <a:gd name="connsiteX9" fmla="*/ 2691415 w 3084094"/>
              <a:gd name="connsiteY9" fmla="*/ 3431217 h 3562605"/>
              <a:gd name="connsiteX10" fmla="*/ 1144047 w 3084094"/>
              <a:gd name="connsiteY10" fmla="*/ 3405287 h 3562605"/>
              <a:gd name="connsiteX11" fmla="*/ 662836 w 3084094"/>
              <a:gd name="connsiteY11" fmla="*/ 2150821 h 3562605"/>
              <a:gd name="connsiteX0" fmla="*/ 662836 w 3084830"/>
              <a:gd name="connsiteY0" fmla="*/ 2150821 h 3562605"/>
              <a:gd name="connsiteX1" fmla="*/ 23061 w 3084830"/>
              <a:gd name="connsiteY1" fmla="*/ 1159764 h 3562605"/>
              <a:gd name="connsiteX2" fmla="*/ 495660 w 3084830"/>
              <a:gd name="connsiteY2" fmla="*/ 400976 h 3562605"/>
              <a:gd name="connsiteX3" fmla="*/ 1308261 w 3084830"/>
              <a:gd name="connsiteY3" fmla="*/ 0 h 3562605"/>
              <a:gd name="connsiteX4" fmla="*/ 2206983 w 3084830"/>
              <a:gd name="connsiteY4" fmla="*/ 559714 h 3562605"/>
              <a:gd name="connsiteX5" fmla="*/ 2313848 w 3084830"/>
              <a:gd name="connsiteY5" fmla="*/ 1209809 h 3562605"/>
              <a:gd name="connsiteX6" fmla="*/ 3070344 w 3084830"/>
              <a:gd name="connsiteY6" fmla="*/ 1339432 h 3562605"/>
              <a:gd name="connsiteX7" fmla="*/ 2477192 w 3084830"/>
              <a:gd name="connsiteY7" fmla="*/ 1916524 h 3562605"/>
              <a:gd name="connsiteX8" fmla="*/ 2341526 w 3084830"/>
              <a:gd name="connsiteY8" fmla="*/ 2125809 h 3562605"/>
              <a:gd name="connsiteX9" fmla="*/ 2691415 w 3084830"/>
              <a:gd name="connsiteY9" fmla="*/ 3431217 h 3562605"/>
              <a:gd name="connsiteX10" fmla="*/ 1144047 w 3084830"/>
              <a:gd name="connsiteY10" fmla="*/ 3405287 h 3562605"/>
              <a:gd name="connsiteX11" fmla="*/ 662836 w 3084830"/>
              <a:gd name="connsiteY11" fmla="*/ 2150821 h 3562605"/>
              <a:gd name="connsiteX0" fmla="*/ 662836 w 3084831"/>
              <a:gd name="connsiteY0" fmla="*/ 2150821 h 3562605"/>
              <a:gd name="connsiteX1" fmla="*/ 23061 w 3084831"/>
              <a:gd name="connsiteY1" fmla="*/ 1159764 h 3562605"/>
              <a:gd name="connsiteX2" fmla="*/ 495660 w 3084831"/>
              <a:gd name="connsiteY2" fmla="*/ 400976 h 3562605"/>
              <a:gd name="connsiteX3" fmla="*/ 1308261 w 3084831"/>
              <a:gd name="connsiteY3" fmla="*/ 0 h 3562605"/>
              <a:gd name="connsiteX4" fmla="*/ 2206983 w 3084831"/>
              <a:gd name="connsiteY4" fmla="*/ 559714 h 3562605"/>
              <a:gd name="connsiteX5" fmla="*/ 2313848 w 3084831"/>
              <a:gd name="connsiteY5" fmla="*/ 1209809 h 3562605"/>
              <a:gd name="connsiteX6" fmla="*/ 3070344 w 3084831"/>
              <a:gd name="connsiteY6" fmla="*/ 1339432 h 3562605"/>
              <a:gd name="connsiteX7" fmla="*/ 2477192 w 3084831"/>
              <a:gd name="connsiteY7" fmla="*/ 1916524 h 3562605"/>
              <a:gd name="connsiteX8" fmla="*/ 2341526 w 3084831"/>
              <a:gd name="connsiteY8" fmla="*/ 2125809 h 3562605"/>
              <a:gd name="connsiteX9" fmla="*/ 2691415 w 3084831"/>
              <a:gd name="connsiteY9" fmla="*/ 3431217 h 3562605"/>
              <a:gd name="connsiteX10" fmla="*/ 1144047 w 3084831"/>
              <a:gd name="connsiteY10" fmla="*/ 3405287 h 3562605"/>
              <a:gd name="connsiteX11" fmla="*/ 662836 w 3084831"/>
              <a:gd name="connsiteY11" fmla="*/ 2150821 h 3562605"/>
              <a:gd name="connsiteX0" fmla="*/ 662836 w 3084831"/>
              <a:gd name="connsiteY0" fmla="*/ 2150821 h 3419467"/>
              <a:gd name="connsiteX1" fmla="*/ 23061 w 3084831"/>
              <a:gd name="connsiteY1" fmla="*/ 1159764 h 3419467"/>
              <a:gd name="connsiteX2" fmla="*/ 495660 w 3084831"/>
              <a:gd name="connsiteY2" fmla="*/ 400976 h 3419467"/>
              <a:gd name="connsiteX3" fmla="*/ 1308261 w 3084831"/>
              <a:gd name="connsiteY3" fmla="*/ 0 h 3419467"/>
              <a:gd name="connsiteX4" fmla="*/ 2206983 w 3084831"/>
              <a:gd name="connsiteY4" fmla="*/ 559714 h 3419467"/>
              <a:gd name="connsiteX5" fmla="*/ 2313848 w 3084831"/>
              <a:gd name="connsiteY5" fmla="*/ 1209809 h 3419467"/>
              <a:gd name="connsiteX6" fmla="*/ 3070344 w 3084831"/>
              <a:gd name="connsiteY6" fmla="*/ 1339432 h 3419467"/>
              <a:gd name="connsiteX7" fmla="*/ 2477192 w 3084831"/>
              <a:gd name="connsiteY7" fmla="*/ 1916524 h 3419467"/>
              <a:gd name="connsiteX8" fmla="*/ 2341526 w 3084831"/>
              <a:gd name="connsiteY8" fmla="*/ 2125809 h 3419467"/>
              <a:gd name="connsiteX9" fmla="*/ 2174783 w 3084831"/>
              <a:gd name="connsiteY9" fmla="*/ 2800387 h 3419467"/>
              <a:gd name="connsiteX10" fmla="*/ 1144047 w 3084831"/>
              <a:gd name="connsiteY10" fmla="*/ 3405287 h 3419467"/>
              <a:gd name="connsiteX11" fmla="*/ 662836 w 3084831"/>
              <a:gd name="connsiteY11" fmla="*/ 2150821 h 3419467"/>
              <a:gd name="connsiteX0" fmla="*/ 662836 w 3084831"/>
              <a:gd name="connsiteY0" fmla="*/ 2150821 h 3419467"/>
              <a:gd name="connsiteX1" fmla="*/ 23061 w 3084831"/>
              <a:gd name="connsiteY1" fmla="*/ 1159764 h 3419467"/>
              <a:gd name="connsiteX2" fmla="*/ 495660 w 3084831"/>
              <a:gd name="connsiteY2" fmla="*/ 400976 h 3419467"/>
              <a:gd name="connsiteX3" fmla="*/ 1308261 w 3084831"/>
              <a:gd name="connsiteY3" fmla="*/ 0 h 3419467"/>
              <a:gd name="connsiteX4" fmla="*/ 2206983 w 3084831"/>
              <a:gd name="connsiteY4" fmla="*/ 559714 h 3419467"/>
              <a:gd name="connsiteX5" fmla="*/ 2313848 w 3084831"/>
              <a:gd name="connsiteY5" fmla="*/ 1209809 h 3419467"/>
              <a:gd name="connsiteX6" fmla="*/ 3070344 w 3084831"/>
              <a:gd name="connsiteY6" fmla="*/ 1339432 h 3419467"/>
              <a:gd name="connsiteX7" fmla="*/ 2477192 w 3084831"/>
              <a:gd name="connsiteY7" fmla="*/ 1916524 h 3419467"/>
              <a:gd name="connsiteX8" fmla="*/ 2341526 w 3084831"/>
              <a:gd name="connsiteY8" fmla="*/ 2125809 h 3419467"/>
              <a:gd name="connsiteX9" fmla="*/ 2174783 w 3084831"/>
              <a:gd name="connsiteY9" fmla="*/ 2800387 h 3419467"/>
              <a:gd name="connsiteX10" fmla="*/ 1144047 w 3084831"/>
              <a:gd name="connsiteY10" fmla="*/ 3405287 h 3419467"/>
              <a:gd name="connsiteX11" fmla="*/ 662836 w 3084831"/>
              <a:gd name="connsiteY11" fmla="*/ 2150821 h 3419467"/>
              <a:gd name="connsiteX0" fmla="*/ 663724 w 3085719"/>
              <a:gd name="connsiteY0" fmla="*/ 2150821 h 3377309"/>
              <a:gd name="connsiteX1" fmla="*/ 23949 w 3085719"/>
              <a:gd name="connsiteY1" fmla="*/ 1159764 h 3377309"/>
              <a:gd name="connsiteX2" fmla="*/ 496548 w 3085719"/>
              <a:gd name="connsiteY2" fmla="*/ 400976 h 3377309"/>
              <a:gd name="connsiteX3" fmla="*/ 1309149 w 3085719"/>
              <a:gd name="connsiteY3" fmla="*/ 0 h 3377309"/>
              <a:gd name="connsiteX4" fmla="*/ 2207871 w 3085719"/>
              <a:gd name="connsiteY4" fmla="*/ 559714 h 3377309"/>
              <a:gd name="connsiteX5" fmla="*/ 2314736 w 3085719"/>
              <a:gd name="connsiteY5" fmla="*/ 1209809 h 3377309"/>
              <a:gd name="connsiteX6" fmla="*/ 3071232 w 3085719"/>
              <a:gd name="connsiteY6" fmla="*/ 1339432 h 3377309"/>
              <a:gd name="connsiteX7" fmla="*/ 2478080 w 3085719"/>
              <a:gd name="connsiteY7" fmla="*/ 1916524 h 3377309"/>
              <a:gd name="connsiteX8" fmla="*/ 2342414 w 3085719"/>
              <a:gd name="connsiteY8" fmla="*/ 2125809 h 3377309"/>
              <a:gd name="connsiteX9" fmla="*/ 2175671 w 3085719"/>
              <a:gd name="connsiteY9" fmla="*/ 2800387 h 3377309"/>
              <a:gd name="connsiteX10" fmla="*/ 1310996 w 3085719"/>
              <a:gd name="connsiteY10" fmla="*/ 3362079 h 3377309"/>
              <a:gd name="connsiteX11" fmla="*/ 663724 w 3085719"/>
              <a:gd name="connsiteY11" fmla="*/ 2150821 h 3377309"/>
              <a:gd name="connsiteX0" fmla="*/ 860051 w 3069858"/>
              <a:gd name="connsiteY0" fmla="*/ 2505123 h 3365898"/>
              <a:gd name="connsiteX1" fmla="*/ 8088 w 3069858"/>
              <a:gd name="connsiteY1" fmla="*/ 1159764 h 3365898"/>
              <a:gd name="connsiteX2" fmla="*/ 480687 w 3069858"/>
              <a:gd name="connsiteY2" fmla="*/ 400976 h 3365898"/>
              <a:gd name="connsiteX3" fmla="*/ 1293288 w 3069858"/>
              <a:gd name="connsiteY3" fmla="*/ 0 h 3365898"/>
              <a:gd name="connsiteX4" fmla="*/ 2192010 w 3069858"/>
              <a:gd name="connsiteY4" fmla="*/ 559714 h 3365898"/>
              <a:gd name="connsiteX5" fmla="*/ 2298875 w 3069858"/>
              <a:gd name="connsiteY5" fmla="*/ 1209809 h 3365898"/>
              <a:gd name="connsiteX6" fmla="*/ 3055371 w 3069858"/>
              <a:gd name="connsiteY6" fmla="*/ 1339432 h 3365898"/>
              <a:gd name="connsiteX7" fmla="*/ 2462219 w 3069858"/>
              <a:gd name="connsiteY7" fmla="*/ 1916524 h 3365898"/>
              <a:gd name="connsiteX8" fmla="*/ 2326553 w 3069858"/>
              <a:gd name="connsiteY8" fmla="*/ 2125809 h 3365898"/>
              <a:gd name="connsiteX9" fmla="*/ 2159810 w 3069858"/>
              <a:gd name="connsiteY9" fmla="*/ 2800387 h 3365898"/>
              <a:gd name="connsiteX10" fmla="*/ 1295135 w 3069858"/>
              <a:gd name="connsiteY10" fmla="*/ 3362079 h 3365898"/>
              <a:gd name="connsiteX11" fmla="*/ 860051 w 3069858"/>
              <a:gd name="connsiteY11" fmla="*/ 2505123 h 3365898"/>
              <a:gd name="connsiteX0" fmla="*/ 852176 w 3061983"/>
              <a:gd name="connsiteY0" fmla="*/ 2505123 h 3365898"/>
              <a:gd name="connsiteX1" fmla="*/ 418209 w 3061983"/>
              <a:gd name="connsiteY1" fmla="*/ 1918414 h 3365898"/>
              <a:gd name="connsiteX2" fmla="*/ 213 w 3061983"/>
              <a:gd name="connsiteY2" fmla="*/ 1159764 h 3365898"/>
              <a:gd name="connsiteX3" fmla="*/ 472812 w 3061983"/>
              <a:gd name="connsiteY3" fmla="*/ 400976 h 3365898"/>
              <a:gd name="connsiteX4" fmla="*/ 1285413 w 3061983"/>
              <a:gd name="connsiteY4" fmla="*/ 0 h 3365898"/>
              <a:gd name="connsiteX5" fmla="*/ 2184135 w 3061983"/>
              <a:gd name="connsiteY5" fmla="*/ 559714 h 3365898"/>
              <a:gd name="connsiteX6" fmla="*/ 2291000 w 3061983"/>
              <a:gd name="connsiteY6" fmla="*/ 1209809 h 3365898"/>
              <a:gd name="connsiteX7" fmla="*/ 3047496 w 3061983"/>
              <a:gd name="connsiteY7" fmla="*/ 1339432 h 3365898"/>
              <a:gd name="connsiteX8" fmla="*/ 2454344 w 3061983"/>
              <a:gd name="connsiteY8" fmla="*/ 1916524 h 3365898"/>
              <a:gd name="connsiteX9" fmla="*/ 2318678 w 3061983"/>
              <a:gd name="connsiteY9" fmla="*/ 2125809 h 3365898"/>
              <a:gd name="connsiteX10" fmla="*/ 2151935 w 3061983"/>
              <a:gd name="connsiteY10" fmla="*/ 2800387 h 3365898"/>
              <a:gd name="connsiteX11" fmla="*/ 1287260 w 3061983"/>
              <a:gd name="connsiteY11" fmla="*/ 3362079 h 3365898"/>
              <a:gd name="connsiteX12" fmla="*/ 852176 w 3061983"/>
              <a:gd name="connsiteY12" fmla="*/ 2505123 h 3365898"/>
              <a:gd name="connsiteX0" fmla="*/ 928665 w 3138472"/>
              <a:gd name="connsiteY0" fmla="*/ 2505123 h 3365898"/>
              <a:gd name="connsiteX1" fmla="*/ 88773 w 3138472"/>
              <a:gd name="connsiteY1" fmla="*/ 2048036 h 3365898"/>
              <a:gd name="connsiteX2" fmla="*/ 76702 w 3138472"/>
              <a:gd name="connsiteY2" fmla="*/ 1159764 h 3365898"/>
              <a:gd name="connsiteX3" fmla="*/ 549301 w 3138472"/>
              <a:gd name="connsiteY3" fmla="*/ 400976 h 3365898"/>
              <a:gd name="connsiteX4" fmla="*/ 1361902 w 3138472"/>
              <a:gd name="connsiteY4" fmla="*/ 0 h 3365898"/>
              <a:gd name="connsiteX5" fmla="*/ 2260624 w 3138472"/>
              <a:gd name="connsiteY5" fmla="*/ 559714 h 3365898"/>
              <a:gd name="connsiteX6" fmla="*/ 2367489 w 3138472"/>
              <a:gd name="connsiteY6" fmla="*/ 1209809 h 3365898"/>
              <a:gd name="connsiteX7" fmla="*/ 3123985 w 3138472"/>
              <a:gd name="connsiteY7" fmla="*/ 1339432 h 3365898"/>
              <a:gd name="connsiteX8" fmla="*/ 2530833 w 3138472"/>
              <a:gd name="connsiteY8" fmla="*/ 1916524 h 3365898"/>
              <a:gd name="connsiteX9" fmla="*/ 2395167 w 3138472"/>
              <a:gd name="connsiteY9" fmla="*/ 2125809 h 3365898"/>
              <a:gd name="connsiteX10" fmla="*/ 2228424 w 3138472"/>
              <a:gd name="connsiteY10" fmla="*/ 2800387 h 3365898"/>
              <a:gd name="connsiteX11" fmla="*/ 1363749 w 3138472"/>
              <a:gd name="connsiteY11" fmla="*/ 3362079 h 3365898"/>
              <a:gd name="connsiteX12" fmla="*/ 928665 w 3138472"/>
              <a:gd name="connsiteY12" fmla="*/ 2505123 h 3365898"/>
              <a:gd name="connsiteX0" fmla="*/ 891763 w 3138472"/>
              <a:gd name="connsiteY0" fmla="*/ 2487840 h 3366314"/>
              <a:gd name="connsiteX1" fmla="*/ 88773 w 3138472"/>
              <a:gd name="connsiteY1" fmla="*/ 2048036 h 3366314"/>
              <a:gd name="connsiteX2" fmla="*/ 76702 w 3138472"/>
              <a:gd name="connsiteY2" fmla="*/ 1159764 h 3366314"/>
              <a:gd name="connsiteX3" fmla="*/ 549301 w 3138472"/>
              <a:gd name="connsiteY3" fmla="*/ 400976 h 3366314"/>
              <a:gd name="connsiteX4" fmla="*/ 1361902 w 3138472"/>
              <a:gd name="connsiteY4" fmla="*/ 0 h 3366314"/>
              <a:gd name="connsiteX5" fmla="*/ 2260624 w 3138472"/>
              <a:gd name="connsiteY5" fmla="*/ 559714 h 3366314"/>
              <a:gd name="connsiteX6" fmla="*/ 2367489 w 3138472"/>
              <a:gd name="connsiteY6" fmla="*/ 1209809 h 3366314"/>
              <a:gd name="connsiteX7" fmla="*/ 3123985 w 3138472"/>
              <a:gd name="connsiteY7" fmla="*/ 1339432 h 3366314"/>
              <a:gd name="connsiteX8" fmla="*/ 2530833 w 3138472"/>
              <a:gd name="connsiteY8" fmla="*/ 1916524 h 3366314"/>
              <a:gd name="connsiteX9" fmla="*/ 2395167 w 3138472"/>
              <a:gd name="connsiteY9" fmla="*/ 2125809 h 3366314"/>
              <a:gd name="connsiteX10" fmla="*/ 2228424 w 3138472"/>
              <a:gd name="connsiteY10" fmla="*/ 2800387 h 3366314"/>
              <a:gd name="connsiteX11" fmla="*/ 1363749 w 3138472"/>
              <a:gd name="connsiteY11" fmla="*/ 3362079 h 3366314"/>
              <a:gd name="connsiteX12" fmla="*/ 891763 w 3138472"/>
              <a:gd name="connsiteY12" fmla="*/ 2487840 h 3366314"/>
              <a:gd name="connsiteX0" fmla="*/ 917259 w 3163968"/>
              <a:gd name="connsiteY0" fmla="*/ 2487840 h 3366314"/>
              <a:gd name="connsiteX1" fmla="*/ 114269 w 3163968"/>
              <a:gd name="connsiteY1" fmla="*/ 2048036 h 3366314"/>
              <a:gd name="connsiteX2" fmla="*/ 102198 w 3163968"/>
              <a:gd name="connsiteY2" fmla="*/ 1159764 h 3366314"/>
              <a:gd name="connsiteX3" fmla="*/ 989946 w 3163968"/>
              <a:gd name="connsiteY3" fmla="*/ 824410 h 3366314"/>
              <a:gd name="connsiteX4" fmla="*/ 1387398 w 3163968"/>
              <a:gd name="connsiteY4" fmla="*/ 0 h 3366314"/>
              <a:gd name="connsiteX5" fmla="*/ 2286120 w 3163968"/>
              <a:gd name="connsiteY5" fmla="*/ 559714 h 3366314"/>
              <a:gd name="connsiteX6" fmla="*/ 2392985 w 3163968"/>
              <a:gd name="connsiteY6" fmla="*/ 1209809 h 3366314"/>
              <a:gd name="connsiteX7" fmla="*/ 3149481 w 3163968"/>
              <a:gd name="connsiteY7" fmla="*/ 1339432 h 3366314"/>
              <a:gd name="connsiteX8" fmla="*/ 2556329 w 3163968"/>
              <a:gd name="connsiteY8" fmla="*/ 1916524 h 3366314"/>
              <a:gd name="connsiteX9" fmla="*/ 2420663 w 3163968"/>
              <a:gd name="connsiteY9" fmla="*/ 2125809 h 3366314"/>
              <a:gd name="connsiteX10" fmla="*/ 2253920 w 3163968"/>
              <a:gd name="connsiteY10" fmla="*/ 2800387 h 3366314"/>
              <a:gd name="connsiteX11" fmla="*/ 1389245 w 3163968"/>
              <a:gd name="connsiteY11" fmla="*/ 3362079 h 3366314"/>
              <a:gd name="connsiteX12" fmla="*/ 917259 w 3163968"/>
              <a:gd name="connsiteY12" fmla="*/ 2487840 h 3366314"/>
              <a:gd name="connsiteX0" fmla="*/ 917259 w 3163968"/>
              <a:gd name="connsiteY0" fmla="*/ 2487840 h 3363034"/>
              <a:gd name="connsiteX1" fmla="*/ 114269 w 3163968"/>
              <a:gd name="connsiteY1" fmla="*/ 2048036 h 3363034"/>
              <a:gd name="connsiteX2" fmla="*/ 102198 w 3163968"/>
              <a:gd name="connsiteY2" fmla="*/ 1159764 h 3363034"/>
              <a:gd name="connsiteX3" fmla="*/ 989946 w 3163968"/>
              <a:gd name="connsiteY3" fmla="*/ 824410 h 3363034"/>
              <a:gd name="connsiteX4" fmla="*/ 1387398 w 3163968"/>
              <a:gd name="connsiteY4" fmla="*/ 0 h 3363034"/>
              <a:gd name="connsiteX5" fmla="*/ 2286120 w 3163968"/>
              <a:gd name="connsiteY5" fmla="*/ 559714 h 3363034"/>
              <a:gd name="connsiteX6" fmla="*/ 2392985 w 3163968"/>
              <a:gd name="connsiteY6" fmla="*/ 1209809 h 3363034"/>
              <a:gd name="connsiteX7" fmla="*/ 3149481 w 3163968"/>
              <a:gd name="connsiteY7" fmla="*/ 1339432 h 3363034"/>
              <a:gd name="connsiteX8" fmla="*/ 2556329 w 3163968"/>
              <a:gd name="connsiteY8" fmla="*/ 1916524 h 3363034"/>
              <a:gd name="connsiteX9" fmla="*/ 2420663 w 3163968"/>
              <a:gd name="connsiteY9" fmla="*/ 2125809 h 3363034"/>
              <a:gd name="connsiteX10" fmla="*/ 2198567 w 3163968"/>
              <a:gd name="connsiteY10" fmla="*/ 2307821 h 3363034"/>
              <a:gd name="connsiteX11" fmla="*/ 1389245 w 3163968"/>
              <a:gd name="connsiteY11" fmla="*/ 3362079 h 3363034"/>
              <a:gd name="connsiteX12" fmla="*/ 917259 w 3163968"/>
              <a:gd name="connsiteY12" fmla="*/ 2487840 h 3363034"/>
              <a:gd name="connsiteX0" fmla="*/ 917259 w 3163968"/>
              <a:gd name="connsiteY0" fmla="*/ 2487840 h 3363034"/>
              <a:gd name="connsiteX1" fmla="*/ 114269 w 3163968"/>
              <a:gd name="connsiteY1" fmla="*/ 2048036 h 3363034"/>
              <a:gd name="connsiteX2" fmla="*/ 102198 w 3163968"/>
              <a:gd name="connsiteY2" fmla="*/ 1159764 h 3363034"/>
              <a:gd name="connsiteX3" fmla="*/ 989946 w 3163968"/>
              <a:gd name="connsiteY3" fmla="*/ 824410 h 3363034"/>
              <a:gd name="connsiteX4" fmla="*/ 1387398 w 3163968"/>
              <a:gd name="connsiteY4" fmla="*/ 0 h 3363034"/>
              <a:gd name="connsiteX5" fmla="*/ 2286120 w 3163968"/>
              <a:gd name="connsiteY5" fmla="*/ 559714 h 3363034"/>
              <a:gd name="connsiteX6" fmla="*/ 2392985 w 3163968"/>
              <a:gd name="connsiteY6" fmla="*/ 1209809 h 3363034"/>
              <a:gd name="connsiteX7" fmla="*/ 3149481 w 3163968"/>
              <a:gd name="connsiteY7" fmla="*/ 1339432 h 3363034"/>
              <a:gd name="connsiteX8" fmla="*/ 2556329 w 3163968"/>
              <a:gd name="connsiteY8" fmla="*/ 1916524 h 3363034"/>
              <a:gd name="connsiteX9" fmla="*/ 2420663 w 3163968"/>
              <a:gd name="connsiteY9" fmla="*/ 2125809 h 3363034"/>
              <a:gd name="connsiteX10" fmla="*/ 2198567 w 3163968"/>
              <a:gd name="connsiteY10" fmla="*/ 2307821 h 3363034"/>
              <a:gd name="connsiteX11" fmla="*/ 1389245 w 3163968"/>
              <a:gd name="connsiteY11" fmla="*/ 3362079 h 3363034"/>
              <a:gd name="connsiteX12" fmla="*/ 917259 w 3163968"/>
              <a:gd name="connsiteY12" fmla="*/ 2487840 h 3363034"/>
              <a:gd name="connsiteX0" fmla="*/ 917259 w 3163968"/>
              <a:gd name="connsiteY0" fmla="*/ 2487840 h 3363034"/>
              <a:gd name="connsiteX1" fmla="*/ 114269 w 3163968"/>
              <a:gd name="connsiteY1" fmla="*/ 2048036 h 3363034"/>
              <a:gd name="connsiteX2" fmla="*/ 102198 w 3163968"/>
              <a:gd name="connsiteY2" fmla="*/ 1159764 h 3363034"/>
              <a:gd name="connsiteX3" fmla="*/ 989946 w 3163968"/>
              <a:gd name="connsiteY3" fmla="*/ 824410 h 3363034"/>
              <a:gd name="connsiteX4" fmla="*/ 1387398 w 3163968"/>
              <a:gd name="connsiteY4" fmla="*/ 0 h 3363034"/>
              <a:gd name="connsiteX5" fmla="*/ 2286120 w 3163968"/>
              <a:gd name="connsiteY5" fmla="*/ 559714 h 3363034"/>
              <a:gd name="connsiteX6" fmla="*/ 2392985 w 3163968"/>
              <a:gd name="connsiteY6" fmla="*/ 1209809 h 3363034"/>
              <a:gd name="connsiteX7" fmla="*/ 3149481 w 3163968"/>
              <a:gd name="connsiteY7" fmla="*/ 1339432 h 3363034"/>
              <a:gd name="connsiteX8" fmla="*/ 2556329 w 3163968"/>
              <a:gd name="connsiteY8" fmla="*/ 1916524 h 3363034"/>
              <a:gd name="connsiteX9" fmla="*/ 2420663 w 3163968"/>
              <a:gd name="connsiteY9" fmla="*/ 2125809 h 3363034"/>
              <a:gd name="connsiteX10" fmla="*/ 2198567 w 3163968"/>
              <a:gd name="connsiteY10" fmla="*/ 2307821 h 3363034"/>
              <a:gd name="connsiteX11" fmla="*/ 1389245 w 3163968"/>
              <a:gd name="connsiteY11" fmla="*/ 3362079 h 3363034"/>
              <a:gd name="connsiteX12" fmla="*/ 917259 w 3163968"/>
              <a:gd name="connsiteY12" fmla="*/ 2487840 h 3363034"/>
              <a:gd name="connsiteX0" fmla="*/ 564956 w 3143785"/>
              <a:gd name="connsiteY0" fmla="*/ 2868066 h 3376944"/>
              <a:gd name="connsiteX1" fmla="*/ 94086 w 3143785"/>
              <a:gd name="connsiteY1" fmla="*/ 2048036 h 3376944"/>
              <a:gd name="connsiteX2" fmla="*/ 82015 w 3143785"/>
              <a:gd name="connsiteY2" fmla="*/ 1159764 h 3376944"/>
              <a:gd name="connsiteX3" fmla="*/ 969763 w 3143785"/>
              <a:gd name="connsiteY3" fmla="*/ 824410 h 3376944"/>
              <a:gd name="connsiteX4" fmla="*/ 1367215 w 3143785"/>
              <a:gd name="connsiteY4" fmla="*/ 0 h 3376944"/>
              <a:gd name="connsiteX5" fmla="*/ 2265937 w 3143785"/>
              <a:gd name="connsiteY5" fmla="*/ 559714 h 3376944"/>
              <a:gd name="connsiteX6" fmla="*/ 2372802 w 3143785"/>
              <a:gd name="connsiteY6" fmla="*/ 1209809 h 3376944"/>
              <a:gd name="connsiteX7" fmla="*/ 3129298 w 3143785"/>
              <a:gd name="connsiteY7" fmla="*/ 1339432 h 3376944"/>
              <a:gd name="connsiteX8" fmla="*/ 2536146 w 3143785"/>
              <a:gd name="connsiteY8" fmla="*/ 1916524 h 3376944"/>
              <a:gd name="connsiteX9" fmla="*/ 2400480 w 3143785"/>
              <a:gd name="connsiteY9" fmla="*/ 2125809 h 3376944"/>
              <a:gd name="connsiteX10" fmla="*/ 2178384 w 3143785"/>
              <a:gd name="connsiteY10" fmla="*/ 2307821 h 3376944"/>
              <a:gd name="connsiteX11" fmla="*/ 1369062 w 3143785"/>
              <a:gd name="connsiteY11" fmla="*/ 3362079 h 3376944"/>
              <a:gd name="connsiteX12" fmla="*/ 564956 w 3143785"/>
              <a:gd name="connsiteY12" fmla="*/ 2868066 h 3376944"/>
              <a:gd name="connsiteX0" fmla="*/ 487235 w 3066064"/>
              <a:gd name="connsiteY0" fmla="*/ 2868066 h 3377415"/>
              <a:gd name="connsiteX1" fmla="*/ 551448 w 3066064"/>
              <a:gd name="connsiteY1" fmla="*/ 1961622 h 3377415"/>
              <a:gd name="connsiteX2" fmla="*/ 4294 w 3066064"/>
              <a:gd name="connsiteY2" fmla="*/ 1159764 h 3377415"/>
              <a:gd name="connsiteX3" fmla="*/ 892042 w 3066064"/>
              <a:gd name="connsiteY3" fmla="*/ 824410 h 3377415"/>
              <a:gd name="connsiteX4" fmla="*/ 1289494 w 3066064"/>
              <a:gd name="connsiteY4" fmla="*/ 0 h 3377415"/>
              <a:gd name="connsiteX5" fmla="*/ 2188216 w 3066064"/>
              <a:gd name="connsiteY5" fmla="*/ 559714 h 3377415"/>
              <a:gd name="connsiteX6" fmla="*/ 2295081 w 3066064"/>
              <a:gd name="connsiteY6" fmla="*/ 1209809 h 3377415"/>
              <a:gd name="connsiteX7" fmla="*/ 3051577 w 3066064"/>
              <a:gd name="connsiteY7" fmla="*/ 1339432 h 3377415"/>
              <a:gd name="connsiteX8" fmla="*/ 2458425 w 3066064"/>
              <a:gd name="connsiteY8" fmla="*/ 1916524 h 3377415"/>
              <a:gd name="connsiteX9" fmla="*/ 2322759 w 3066064"/>
              <a:gd name="connsiteY9" fmla="*/ 2125809 h 3377415"/>
              <a:gd name="connsiteX10" fmla="*/ 2100663 w 3066064"/>
              <a:gd name="connsiteY10" fmla="*/ 2307821 h 3377415"/>
              <a:gd name="connsiteX11" fmla="*/ 1291341 w 3066064"/>
              <a:gd name="connsiteY11" fmla="*/ 3362079 h 3377415"/>
              <a:gd name="connsiteX12" fmla="*/ 487235 w 3066064"/>
              <a:gd name="connsiteY12" fmla="*/ 2868066 h 3377415"/>
              <a:gd name="connsiteX0" fmla="*/ 486269 w 3065098"/>
              <a:gd name="connsiteY0" fmla="*/ 2868066 h 3377415"/>
              <a:gd name="connsiteX1" fmla="*/ 550482 w 3065098"/>
              <a:gd name="connsiteY1" fmla="*/ 1961622 h 3377415"/>
              <a:gd name="connsiteX2" fmla="*/ 3328 w 3065098"/>
              <a:gd name="connsiteY2" fmla="*/ 1159764 h 3377415"/>
              <a:gd name="connsiteX3" fmla="*/ 891076 w 3065098"/>
              <a:gd name="connsiteY3" fmla="*/ 824410 h 3377415"/>
              <a:gd name="connsiteX4" fmla="*/ 1288528 w 3065098"/>
              <a:gd name="connsiteY4" fmla="*/ 0 h 3377415"/>
              <a:gd name="connsiteX5" fmla="*/ 2187250 w 3065098"/>
              <a:gd name="connsiteY5" fmla="*/ 559714 h 3377415"/>
              <a:gd name="connsiteX6" fmla="*/ 2294115 w 3065098"/>
              <a:gd name="connsiteY6" fmla="*/ 1209809 h 3377415"/>
              <a:gd name="connsiteX7" fmla="*/ 3050611 w 3065098"/>
              <a:gd name="connsiteY7" fmla="*/ 1339432 h 3377415"/>
              <a:gd name="connsiteX8" fmla="*/ 2457459 w 3065098"/>
              <a:gd name="connsiteY8" fmla="*/ 1916524 h 3377415"/>
              <a:gd name="connsiteX9" fmla="*/ 2321793 w 3065098"/>
              <a:gd name="connsiteY9" fmla="*/ 2125809 h 3377415"/>
              <a:gd name="connsiteX10" fmla="*/ 2099697 w 3065098"/>
              <a:gd name="connsiteY10" fmla="*/ 2307821 h 3377415"/>
              <a:gd name="connsiteX11" fmla="*/ 1290375 w 3065098"/>
              <a:gd name="connsiteY11" fmla="*/ 3362079 h 3377415"/>
              <a:gd name="connsiteX12" fmla="*/ 486269 w 3065098"/>
              <a:gd name="connsiteY12" fmla="*/ 2868066 h 3377415"/>
              <a:gd name="connsiteX0" fmla="*/ 486269 w 3065098"/>
              <a:gd name="connsiteY0" fmla="*/ 2868066 h 3377415"/>
              <a:gd name="connsiteX1" fmla="*/ 550482 w 3065098"/>
              <a:gd name="connsiteY1" fmla="*/ 1961622 h 3377415"/>
              <a:gd name="connsiteX2" fmla="*/ 3328 w 3065098"/>
              <a:gd name="connsiteY2" fmla="*/ 1159764 h 3377415"/>
              <a:gd name="connsiteX3" fmla="*/ 891076 w 3065098"/>
              <a:gd name="connsiteY3" fmla="*/ 824410 h 3377415"/>
              <a:gd name="connsiteX4" fmla="*/ 1288528 w 3065098"/>
              <a:gd name="connsiteY4" fmla="*/ 0 h 3377415"/>
              <a:gd name="connsiteX5" fmla="*/ 2187250 w 3065098"/>
              <a:gd name="connsiteY5" fmla="*/ 559714 h 3377415"/>
              <a:gd name="connsiteX6" fmla="*/ 2294115 w 3065098"/>
              <a:gd name="connsiteY6" fmla="*/ 1209809 h 3377415"/>
              <a:gd name="connsiteX7" fmla="*/ 3050611 w 3065098"/>
              <a:gd name="connsiteY7" fmla="*/ 1339432 h 3377415"/>
              <a:gd name="connsiteX8" fmla="*/ 2457459 w 3065098"/>
              <a:gd name="connsiteY8" fmla="*/ 1916524 h 3377415"/>
              <a:gd name="connsiteX9" fmla="*/ 2321793 w 3065098"/>
              <a:gd name="connsiteY9" fmla="*/ 2125809 h 3377415"/>
              <a:gd name="connsiteX10" fmla="*/ 2099697 w 3065098"/>
              <a:gd name="connsiteY10" fmla="*/ 2307821 h 3377415"/>
              <a:gd name="connsiteX11" fmla="*/ 1290375 w 3065098"/>
              <a:gd name="connsiteY11" fmla="*/ 3362079 h 3377415"/>
              <a:gd name="connsiteX12" fmla="*/ 486269 w 3065098"/>
              <a:gd name="connsiteY12" fmla="*/ 2868066 h 3377415"/>
              <a:gd name="connsiteX0" fmla="*/ 486269 w 3065098"/>
              <a:gd name="connsiteY0" fmla="*/ 2868066 h 3377415"/>
              <a:gd name="connsiteX1" fmla="*/ 550482 w 3065098"/>
              <a:gd name="connsiteY1" fmla="*/ 1961622 h 3377415"/>
              <a:gd name="connsiteX2" fmla="*/ 3328 w 3065098"/>
              <a:gd name="connsiteY2" fmla="*/ 1159764 h 3377415"/>
              <a:gd name="connsiteX3" fmla="*/ 891076 w 3065098"/>
              <a:gd name="connsiteY3" fmla="*/ 824410 h 3377415"/>
              <a:gd name="connsiteX4" fmla="*/ 1288528 w 3065098"/>
              <a:gd name="connsiteY4" fmla="*/ 0 h 3377415"/>
              <a:gd name="connsiteX5" fmla="*/ 2187250 w 3065098"/>
              <a:gd name="connsiteY5" fmla="*/ 559714 h 3377415"/>
              <a:gd name="connsiteX6" fmla="*/ 2294115 w 3065098"/>
              <a:gd name="connsiteY6" fmla="*/ 1209809 h 3377415"/>
              <a:gd name="connsiteX7" fmla="*/ 3050611 w 3065098"/>
              <a:gd name="connsiteY7" fmla="*/ 1339432 h 3377415"/>
              <a:gd name="connsiteX8" fmla="*/ 2457459 w 3065098"/>
              <a:gd name="connsiteY8" fmla="*/ 1916524 h 3377415"/>
              <a:gd name="connsiteX9" fmla="*/ 2321793 w 3065098"/>
              <a:gd name="connsiteY9" fmla="*/ 2125809 h 3377415"/>
              <a:gd name="connsiteX10" fmla="*/ 2099697 w 3065098"/>
              <a:gd name="connsiteY10" fmla="*/ 2307821 h 3377415"/>
              <a:gd name="connsiteX11" fmla="*/ 1290375 w 3065098"/>
              <a:gd name="connsiteY11" fmla="*/ 3362079 h 3377415"/>
              <a:gd name="connsiteX12" fmla="*/ 486269 w 3065098"/>
              <a:gd name="connsiteY12" fmla="*/ 2868066 h 3377415"/>
              <a:gd name="connsiteX0" fmla="*/ 486269 w 3065098"/>
              <a:gd name="connsiteY0" fmla="*/ 2868066 h 3377415"/>
              <a:gd name="connsiteX1" fmla="*/ 550482 w 3065098"/>
              <a:gd name="connsiteY1" fmla="*/ 1961622 h 3377415"/>
              <a:gd name="connsiteX2" fmla="*/ 3328 w 3065098"/>
              <a:gd name="connsiteY2" fmla="*/ 1159764 h 3377415"/>
              <a:gd name="connsiteX3" fmla="*/ 891076 w 3065098"/>
              <a:gd name="connsiteY3" fmla="*/ 824410 h 3377415"/>
              <a:gd name="connsiteX4" fmla="*/ 1288528 w 3065098"/>
              <a:gd name="connsiteY4" fmla="*/ 0 h 3377415"/>
              <a:gd name="connsiteX5" fmla="*/ 2187250 w 3065098"/>
              <a:gd name="connsiteY5" fmla="*/ 559714 h 3377415"/>
              <a:gd name="connsiteX6" fmla="*/ 2294115 w 3065098"/>
              <a:gd name="connsiteY6" fmla="*/ 1209809 h 3377415"/>
              <a:gd name="connsiteX7" fmla="*/ 3050611 w 3065098"/>
              <a:gd name="connsiteY7" fmla="*/ 1339432 h 3377415"/>
              <a:gd name="connsiteX8" fmla="*/ 2457459 w 3065098"/>
              <a:gd name="connsiteY8" fmla="*/ 1916524 h 3377415"/>
              <a:gd name="connsiteX9" fmla="*/ 2321793 w 3065098"/>
              <a:gd name="connsiteY9" fmla="*/ 2125809 h 3377415"/>
              <a:gd name="connsiteX10" fmla="*/ 2099697 w 3065098"/>
              <a:gd name="connsiteY10" fmla="*/ 2307821 h 3377415"/>
              <a:gd name="connsiteX11" fmla="*/ 1290375 w 3065098"/>
              <a:gd name="connsiteY11" fmla="*/ 3362079 h 3377415"/>
              <a:gd name="connsiteX12" fmla="*/ 486269 w 3065098"/>
              <a:gd name="connsiteY12" fmla="*/ 2868066 h 3377415"/>
              <a:gd name="connsiteX0" fmla="*/ 486269 w 3053127"/>
              <a:gd name="connsiteY0" fmla="*/ 2868066 h 3377415"/>
              <a:gd name="connsiteX1" fmla="*/ 550482 w 3053127"/>
              <a:gd name="connsiteY1" fmla="*/ 1961622 h 3377415"/>
              <a:gd name="connsiteX2" fmla="*/ 3328 w 3053127"/>
              <a:gd name="connsiteY2" fmla="*/ 1159764 h 3377415"/>
              <a:gd name="connsiteX3" fmla="*/ 891076 w 3053127"/>
              <a:gd name="connsiteY3" fmla="*/ 824410 h 3377415"/>
              <a:gd name="connsiteX4" fmla="*/ 1288528 w 3053127"/>
              <a:gd name="connsiteY4" fmla="*/ 0 h 3377415"/>
              <a:gd name="connsiteX5" fmla="*/ 2187250 w 3053127"/>
              <a:gd name="connsiteY5" fmla="*/ 559714 h 3377415"/>
              <a:gd name="connsiteX6" fmla="*/ 2294115 w 3053127"/>
              <a:gd name="connsiteY6" fmla="*/ 1209809 h 3377415"/>
              <a:gd name="connsiteX7" fmla="*/ 3050611 w 3053127"/>
              <a:gd name="connsiteY7" fmla="*/ 1339432 h 3377415"/>
              <a:gd name="connsiteX8" fmla="*/ 2531265 w 3053127"/>
              <a:gd name="connsiteY8" fmla="*/ 1856033 h 3377415"/>
              <a:gd name="connsiteX9" fmla="*/ 2321793 w 3053127"/>
              <a:gd name="connsiteY9" fmla="*/ 2125809 h 3377415"/>
              <a:gd name="connsiteX10" fmla="*/ 2099697 w 3053127"/>
              <a:gd name="connsiteY10" fmla="*/ 2307821 h 3377415"/>
              <a:gd name="connsiteX11" fmla="*/ 1290375 w 3053127"/>
              <a:gd name="connsiteY11" fmla="*/ 3362079 h 3377415"/>
              <a:gd name="connsiteX12" fmla="*/ 486269 w 3053127"/>
              <a:gd name="connsiteY12" fmla="*/ 2868066 h 3377415"/>
              <a:gd name="connsiteX0" fmla="*/ 486269 w 3053103"/>
              <a:gd name="connsiteY0" fmla="*/ 2868066 h 3377415"/>
              <a:gd name="connsiteX1" fmla="*/ 550482 w 3053103"/>
              <a:gd name="connsiteY1" fmla="*/ 1961622 h 3377415"/>
              <a:gd name="connsiteX2" fmla="*/ 3328 w 3053103"/>
              <a:gd name="connsiteY2" fmla="*/ 1159764 h 3377415"/>
              <a:gd name="connsiteX3" fmla="*/ 891076 w 3053103"/>
              <a:gd name="connsiteY3" fmla="*/ 824410 h 3377415"/>
              <a:gd name="connsiteX4" fmla="*/ 1288528 w 3053103"/>
              <a:gd name="connsiteY4" fmla="*/ 0 h 3377415"/>
              <a:gd name="connsiteX5" fmla="*/ 2187250 w 3053103"/>
              <a:gd name="connsiteY5" fmla="*/ 559714 h 3377415"/>
              <a:gd name="connsiteX6" fmla="*/ 2294115 w 3053103"/>
              <a:gd name="connsiteY6" fmla="*/ 1209809 h 3377415"/>
              <a:gd name="connsiteX7" fmla="*/ 3050611 w 3053103"/>
              <a:gd name="connsiteY7" fmla="*/ 1339432 h 3377415"/>
              <a:gd name="connsiteX8" fmla="*/ 2531265 w 3053103"/>
              <a:gd name="connsiteY8" fmla="*/ 1856033 h 3377415"/>
              <a:gd name="connsiteX9" fmla="*/ 2349470 w 3053103"/>
              <a:gd name="connsiteY9" fmla="*/ 2099884 h 3377415"/>
              <a:gd name="connsiteX10" fmla="*/ 2099697 w 3053103"/>
              <a:gd name="connsiteY10" fmla="*/ 2307821 h 3377415"/>
              <a:gd name="connsiteX11" fmla="*/ 1290375 w 3053103"/>
              <a:gd name="connsiteY11" fmla="*/ 3362079 h 3377415"/>
              <a:gd name="connsiteX12" fmla="*/ 486269 w 3053103"/>
              <a:gd name="connsiteY12" fmla="*/ 2868066 h 3377415"/>
              <a:gd name="connsiteX0" fmla="*/ 486269 w 3052881"/>
              <a:gd name="connsiteY0" fmla="*/ 2868066 h 3377415"/>
              <a:gd name="connsiteX1" fmla="*/ 550482 w 3052881"/>
              <a:gd name="connsiteY1" fmla="*/ 1961622 h 3377415"/>
              <a:gd name="connsiteX2" fmla="*/ 3328 w 3052881"/>
              <a:gd name="connsiteY2" fmla="*/ 1159764 h 3377415"/>
              <a:gd name="connsiteX3" fmla="*/ 891076 w 3052881"/>
              <a:gd name="connsiteY3" fmla="*/ 824410 h 3377415"/>
              <a:gd name="connsiteX4" fmla="*/ 1288528 w 3052881"/>
              <a:gd name="connsiteY4" fmla="*/ 0 h 3377415"/>
              <a:gd name="connsiteX5" fmla="*/ 2187250 w 3052881"/>
              <a:gd name="connsiteY5" fmla="*/ 559714 h 3377415"/>
              <a:gd name="connsiteX6" fmla="*/ 2294115 w 3052881"/>
              <a:gd name="connsiteY6" fmla="*/ 1209809 h 3377415"/>
              <a:gd name="connsiteX7" fmla="*/ 3050611 w 3052881"/>
              <a:gd name="connsiteY7" fmla="*/ 1339432 h 3377415"/>
              <a:gd name="connsiteX8" fmla="*/ 2522039 w 3052881"/>
              <a:gd name="connsiteY8" fmla="*/ 1864675 h 3377415"/>
              <a:gd name="connsiteX9" fmla="*/ 2349470 w 3052881"/>
              <a:gd name="connsiteY9" fmla="*/ 2099884 h 3377415"/>
              <a:gd name="connsiteX10" fmla="*/ 2099697 w 3052881"/>
              <a:gd name="connsiteY10" fmla="*/ 2307821 h 3377415"/>
              <a:gd name="connsiteX11" fmla="*/ 1290375 w 3052881"/>
              <a:gd name="connsiteY11" fmla="*/ 3362079 h 3377415"/>
              <a:gd name="connsiteX12" fmla="*/ 486269 w 3052881"/>
              <a:gd name="connsiteY12" fmla="*/ 2868066 h 3377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52881" h="3377415">
                <a:moveTo>
                  <a:pt x="486269" y="2868066"/>
                </a:moveTo>
                <a:cubicBezTo>
                  <a:pt x="362954" y="2634657"/>
                  <a:pt x="464913" y="2254981"/>
                  <a:pt x="550482" y="1961622"/>
                </a:cubicBezTo>
                <a:cubicBezTo>
                  <a:pt x="636051" y="1668263"/>
                  <a:pt x="-53438" y="1349299"/>
                  <a:pt x="3328" y="1159764"/>
                </a:cubicBezTo>
                <a:cubicBezTo>
                  <a:pt x="60094" y="970229"/>
                  <a:pt x="676876" y="1017704"/>
                  <a:pt x="891076" y="824410"/>
                </a:cubicBezTo>
                <a:cubicBezTo>
                  <a:pt x="1105276" y="631116"/>
                  <a:pt x="878763" y="535241"/>
                  <a:pt x="1288528" y="0"/>
                </a:cubicBezTo>
                <a:cubicBezTo>
                  <a:pt x="1772099" y="9174"/>
                  <a:pt x="2019652" y="358079"/>
                  <a:pt x="2187250" y="559714"/>
                </a:cubicBezTo>
                <a:cubicBezTo>
                  <a:pt x="2354848" y="761349"/>
                  <a:pt x="2239402" y="1056812"/>
                  <a:pt x="2294115" y="1209809"/>
                </a:cubicBezTo>
                <a:cubicBezTo>
                  <a:pt x="2348828" y="1362806"/>
                  <a:pt x="3012624" y="1230288"/>
                  <a:pt x="3050611" y="1339432"/>
                </a:cubicBezTo>
                <a:cubicBezTo>
                  <a:pt x="3088598" y="1448576"/>
                  <a:pt x="2638896" y="1737933"/>
                  <a:pt x="2522039" y="1864675"/>
                </a:cubicBezTo>
                <a:cubicBezTo>
                  <a:pt x="2405182" y="1991417"/>
                  <a:pt x="2498276" y="1847435"/>
                  <a:pt x="2349470" y="2099884"/>
                </a:cubicBezTo>
                <a:cubicBezTo>
                  <a:pt x="2237565" y="2214069"/>
                  <a:pt x="2243924" y="2222757"/>
                  <a:pt x="2099697" y="2307821"/>
                </a:cubicBezTo>
                <a:cubicBezTo>
                  <a:pt x="1863215" y="2479300"/>
                  <a:pt x="1559280" y="3268705"/>
                  <a:pt x="1290375" y="3362079"/>
                </a:cubicBezTo>
                <a:cubicBezTo>
                  <a:pt x="1021470" y="3455453"/>
                  <a:pt x="609584" y="3101475"/>
                  <a:pt x="486269" y="2868066"/>
                </a:cubicBezTo>
                <a:close/>
              </a:path>
            </a:pathLst>
          </a:custGeom>
          <a:solidFill>
            <a:srgbClr val="FED6D3">
              <a:alpha val="40000"/>
            </a:srgbClr>
          </a:solid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err="1">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40" name="Oval 21">
            <a:extLst>
              <a:ext uri="{FF2B5EF4-FFF2-40B4-BE49-F238E27FC236}">
                <a16:creationId xmlns:a16="http://schemas.microsoft.com/office/drawing/2014/main" id="{7C4404CA-B271-47C4-BC02-4EEE49700D36}"/>
              </a:ext>
            </a:extLst>
          </p:cNvPr>
          <p:cNvSpPr/>
          <p:nvPr/>
        </p:nvSpPr>
        <p:spPr>
          <a:xfrm>
            <a:off x="4906422" y="2514132"/>
            <a:ext cx="2402178" cy="2437062"/>
          </a:xfrm>
          <a:custGeom>
            <a:avLst/>
            <a:gdLst>
              <a:gd name="connsiteX0" fmla="*/ 0 w 2170532"/>
              <a:gd name="connsiteY0" fmla="*/ 1093728 h 2187456"/>
              <a:gd name="connsiteX1" fmla="*/ 1085266 w 2170532"/>
              <a:gd name="connsiteY1" fmla="*/ 0 h 2187456"/>
              <a:gd name="connsiteX2" fmla="*/ 2170532 w 2170532"/>
              <a:gd name="connsiteY2" fmla="*/ 1093728 h 2187456"/>
              <a:gd name="connsiteX3" fmla="*/ 1085266 w 2170532"/>
              <a:gd name="connsiteY3" fmla="*/ 2187456 h 2187456"/>
              <a:gd name="connsiteX4" fmla="*/ 0 w 2170532"/>
              <a:gd name="connsiteY4" fmla="*/ 1093728 h 2187456"/>
              <a:gd name="connsiteX0" fmla="*/ 28546 w 2199078"/>
              <a:gd name="connsiteY0" fmla="*/ 1137766 h 2231494"/>
              <a:gd name="connsiteX1" fmla="*/ 383506 w 2199078"/>
              <a:gd name="connsiteY1" fmla="*/ 305039 h 2231494"/>
              <a:gd name="connsiteX2" fmla="*/ 1113812 w 2199078"/>
              <a:gd name="connsiteY2" fmla="*/ 44038 h 2231494"/>
              <a:gd name="connsiteX3" fmla="*/ 2199078 w 2199078"/>
              <a:gd name="connsiteY3" fmla="*/ 1137766 h 2231494"/>
              <a:gd name="connsiteX4" fmla="*/ 1113812 w 2199078"/>
              <a:gd name="connsiteY4" fmla="*/ 2231494 h 2231494"/>
              <a:gd name="connsiteX5" fmla="*/ 28546 w 2199078"/>
              <a:gd name="connsiteY5" fmla="*/ 1137766 h 2231494"/>
              <a:gd name="connsiteX0" fmla="*/ 28546 w 2199078"/>
              <a:gd name="connsiteY0" fmla="*/ 1242106 h 2335834"/>
              <a:gd name="connsiteX1" fmla="*/ 383506 w 2199078"/>
              <a:gd name="connsiteY1" fmla="*/ 409379 h 2335834"/>
              <a:gd name="connsiteX2" fmla="*/ 1468919 w 2199078"/>
              <a:gd name="connsiteY2" fmla="*/ 32969 h 2335834"/>
              <a:gd name="connsiteX3" fmla="*/ 2199078 w 2199078"/>
              <a:gd name="connsiteY3" fmla="*/ 1242106 h 2335834"/>
              <a:gd name="connsiteX4" fmla="*/ 1113812 w 2199078"/>
              <a:gd name="connsiteY4" fmla="*/ 2335834 h 2335834"/>
              <a:gd name="connsiteX5" fmla="*/ 28546 w 2199078"/>
              <a:gd name="connsiteY5" fmla="*/ 1242106 h 2335834"/>
              <a:gd name="connsiteX0" fmla="*/ 96418 w 2266950"/>
              <a:gd name="connsiteY0" fmla="*/ 1324845 h 2418573"/>
              <a:gd name="connsiteX1" fmla="*/ 176170 w 2266950"/>
              <a:gd name="connsiteY1" fmla="*/ 172522 h 2418573"/>
              <a:gd name="connsiteX2" fmla="*/ 1536791 w 2266950"/>
              <a:gd name="connsiteY2" fmla="*/ 115708 h 2418573"/>
              <a:gd name="connsiteX3" fmla="*/ 2266950 w 2266950"/>
              <a:gd name="connsiteY3" fmla="*/ 1324845 h 2418573"/>
              <a:gd name="connsiteX4" fmla="*/ 1181684 w 2266950"/>
              <a:gd name="connsiteY4" fmla="*/ 2418573 h 2418573"/>
              <a:gd name="connsiteX5" fmla="*/ 96418 w 2266950"/>
              <a:gd name="connsiteY5" fmla="*/ 1324845 h 2418573"/>
              <a:gd name="connsiteX0" fmla="*/ 14596 w 3445757"/>
              <a:gd name="connsiteY0" fmla="*/ 934227 h 2423786"/>
              <a:gd name="connsiteX1" fmla="*/ 1354977 w 3445757"/>
              <a:gd name="connsiteY1" fmla="*/ 172522 h 2423786"/>
              <a:gd name="connsiteX2" fmla="*/ 2715598 w 3445757"/>
              <a:gd name="connsiteY2" fmla="*/ 115708 h 2423786"/>
              <a:gd name="connsiteX3" fmla="*/ 3445757 w 3445757"/>
              <a:gd name="connsiteY3" fmla="*/ 1324845 h 2423786"/>
              <a:gd name="connsiteX4" fmla="*/ 2360491 w 3445757"/>
              <a:gd name="connsiteY4" fmla="*/ 2418573 h 2423786"/>
              <a:gd name="connsiteX5" fmla="*/ 14596 w 3445757"/>
              <a:gd name="connsiteY5" fmla="*/ 934227 h 2423786"/>
              <a:gd name="connsiteX0" fmla="*/ 14596 w 3445757"/>
              <a:gd name="connsiteY0" fmla="*/ 934227 h 2433776"/>
              <a:gd name="connsiteX1" fmla="*/ 1354977 w 3445757"/>
              <a:gd name="connsiteY1" fmla="*/ 172522 h 2433776"/>
              <a:gd name="connsiteX2" fmla="*/ 2715598 w 3445757"/>
              <a:gd name="connsiteY2" fmla="*/ 115708 h 2433776"/>
              <a:gd name="connsiteX3" fmla="*/ 3445757 w 3445757"/>
              <a:gd name="connsiteY3" fmla="*/ 1324845 h 2433776"/>
              <a:gd name="connsiteX4" fmla="*/ 2360491 w 3445757"/>
              <a:gd name="connsiteY4" fmla="*/ 2418573 h 2433776"/>
              <a:gd name="connsiteX5" fmla="*/ 1177424 w 3445757"/>
              <a:gd name="connsiteY5" fmla="*/ 1894790 h 2433776"/>
              <a:gd name="connsiteX6" fmla="*/ 14596 w 3445757"/>
              <a:gd name="connsiteY6" fmla="*/ 934227 h 2433776"/>
              <a:gd name="connsiteX0" fmla="*/ 2247 w 3433408"/>
              <a:gd name="connsiteY0" fmla="*/ 934227 h 2478987"/>
              <a:gd name="connsiteX1" fmla="*/ 1342628 w 3433408"/>
              <a:gd name="connsiteY1" fmla="*/ 172522 h 2478987"/>
              <a:gd name="connsiteX2" fmla="*/ 2703249 w 3433408"/>
              <a:gd name="connsiteY2" fmla="*/ 115708 h 2478987"/>
              <a:gd name="connsiteX3" fmla="*/ 3433408 w 3433408"/>
              <a:gd name="connsiteY3" fmla="*/ 1324845 h 2478987"/>
              <a:gd name="connsiteX4" fmla="*/ 2348142 w 3433408"/>
              <a:gd name="connsiteY4" fmla="*/ 2418573 h 2478987"/>
              <a:gd name="connsiteX5" fmla="*/ 1058543 w 3433408"/>
              <a:gd name="connsiteY5" fmla="*/ 2187753 h 2478987"/>
              <a:gd name="connsiteX6" fmla="*/ 2247 w 3433408"/>
              <a:gd name="connsiteY6" fmla="*/ 934227 h 2478987"/>
              <a:gd name="connsiteX0" fmla="*/ 2247 w 3433408"/>
              <a:gd name="connsiteY0" fmla="*/ 934227 h 2698988"/>
              <a:gd name="connsiteX1" fmla="*/ 1342628 w 3433408"/>
              <a:gd name="connsiteY1" fmla="*/ 172522 h 2698988"/>
              <a:gd name="connsiteX2" fmla="*/ 2703249 w 3433408"/>
              <a:gd name="connsiteY2" fmla="*/ 115708 h 2698988"/>
              <a:gd name="connsiteX3" fmla="*/ 3433408 w 3433408"/>
              <a:gd name="connsiteY3" fmla="*/ 1324845 h 2698988"/>
              <a:gd name="connsiteX4" fmla="*/ 2037424 w 3433408"/>
              <a:gd name="connsiteY4" fmla="*/ 2667148 h 2698988"/>
              <a:gd name="connsiteX5" fmla="*/ 1058543 w 3433408"/>
              <a:gd name="connsiteY5" fmla="*/ 2187753 h 2698988"/>
              <a:gd name="connsiteX6" fmla="*/ 2247 w 3433408"/>
              <a:gd name="connsiteY6" fmla="*/ 934227 h 2698988"/>
              <a:gd name="connsiteX0" fmla="*/ 2247 w 4205765"/>
              <a:gd name="connsiteY0" fmla="*/ 905310 h 2694437"/>
              <a:gd name="connsiteX1" fmla="*/ 1342628 w 4205765"/>
              <a:gd name="connsiteY1" fmla="*/ 143605 h 2694437"/>
              <a:gd name="connsiteX2" fmla="*/ 2703249 w 4205765"/>
              <a:gd name="connsiteY2" fmla="*/ 86791 h 2694437"/>
              <a:gd name="connsiteX3" fmla="*/ 4205765 w 4205765"/>
              <a:gd name="connsiteY3" fmla="*/ 878677 h 2694437"/>
              <a:gd name="connsiteX4" fmla="*/ 2037424 w 4205765"/>
              <a:gd name="connsiteY4" fmla="*/ 2638231 h 2694437"/>
              <a:gd name="connsiteX5" fmla="*/ 1058543 w 4205765"/>
              <a:gd name="connsiteY5" fmla="*/ 2158836 h 2694437"/>
              <a:gd name="connsiteX6" fmla="*/ 2247 w 4205765"/>
              <a:gd name="connsiteY6" fmla="*/ 905310 h 2694437"/>
              <a:gd name="connsiteX0" fmla="*/ 2247 w 4210670"/>
              <a:gd name="connsiteY0" fmla="*/ 905310 h 2639423"/>
              <a:gd name="connsiteX1" fmla="*/ 1342628 w 4210670"/>
              <a:gd name="connsiteY1" fmla="*/ 143605 h 2639423"/>
              <a:gd name="connsiteX2" fmla="*/ 2703249 w 4210670"/>
              <a:gd name="connsiteY2" fmla="*/ 86791 h 2639423"/>
              <a:gd name="connsiteX3" fmla="*/ 4205765 w 4210670"/>
              <a:gd name="connsiteY3" fmla="*/ 878677 h 2639423"/>
              <a:gd name="connsiteX4" fmla="*/ 3144795 w 4210670"/>
              <a:gd name="connsiteY4" fmla="*/ 2034548 h 2639423"/>
              <a:gd name="connsiteX5" fmla="*/ 2037424 w 4210670"/>
              <a:gd name="connsiteY5" fmla="*/ 2638231 h 2639423"/>
              <a:gd name="connsiteX6" fmla="*/ 1058543 w 4210670"/>
              <a:gd name="connsiteY6" fmla="*/ 2158836 h 2639423"/>
              <a:gd name="connsiteX7" fmla="*/ 2247 w 4210670"/>
              <a:gd name="connsiteY7" fmla="*/ 905310 h 2639423"/>
              <a:gd name="connsiteX0" fmla="*/ 2247 w 4213433"/>
              <a:gd name="connsiteY0" fmla="*/ 905310 h 2674570"/>
              <a:gd name="connsiteX1" fmla="*/ 1342628 w 4213433"/>
              <a:gd name="connsiteY1" fmla="*/ 143605 h 2674570"/>
              <a:gd name="connsiteX2" fmla="*/ 2703249 w 4213433"/>
              <a:gd name="connsiteY2" fmla="*/ 86791 h 2674570"/>
              <a:gd name="connsiteX3" fmla="*/ 4205765 w 4213433"/>
              <a:gd name="connsiteY3" fmla="*/ 878677 h 2674570"/>
              <a:gd name="connsiteX4" fmla="*/ 3446636 w 4213433"/>
              <a:gd name="connsiteY4" fmla="*/ 2442921 h 2674570"/>
              <a:gd name="connsiteX5" fmla="*/ 2037424 w 4213433"/>
              <a:gd name="connsiteY5" fmla="*/ 2638231 h 2674570"/>
              <a:gd name="connsiteX6" fmla="*/ 1058543 w 4213433"/>
              <a:gd name="connsiteY6" fmla="*/ 2158836 h 2674570"/>
              <a:gd name="connsiteX7" fmla="*/ 2247 w 4213433"/>
              <a:gd name="connsiteY7" fmla="*/ 905310 h 2674570"/>
              <a:gd name="connsiteX0" fmla="*/ 2247 w 4213433"/>
              <a:gd name="connsiteY0" fmla="*/ 795198 h 2564458"/>
              <a:gd name="connsiteX1" fmla="*/ 1342628 w 4213433"/>
              <a:gd name="connsiteY1" fmla="*/ 33493 h 2564458"/>
              <a:gd name="connsiteX2" fmla="*/ 2339264 w 4213433"/>
              <a:gd name="connsiteY2" fmla="*/ 589238 h 2564458"/>
              <a:gd name="connsiteX3" fmla="*/ 4205765 w 4213433"/>
              <a:gd name="connsiteY3" fmla="*/ 768565 h 2564458"/>
              <a:gd name="connsiteX4" fmla="*/ 3446636 w 4213433"/>
              <a:gd name="connsiteY4" fmla="*/ 2332809 h 2564458"/>
              <a:gd name="connsiteX5" fmla="*/ 2037424 w 4213433"/>
              <a:gd name="connsiteY5" fmla="*/ 2528119 h 2564458"/>
              <a:gd name="connsiteX6" fmla="*/ 1058543 w 4213433"/>
              <a:gd name="connsiteY6" fmla="*/ 2048724 h 2564458"/>
              <a:gd name="connsiteX7" fmla="*/ 2247 w 4213433"/>
              <a:gd name="connsiteY7" fmla="*/ 795198 h 2564458"/>
              <a:gd name="connsiteX0" fmla="*/ 8090 w 4219276"/>
              <a:gd name="connsiteY0" fmla="*/ 502293 h 2271553"/>
              <a:gd name="connsiteX1" fmla="*/ 1632557 w 4219276"/>
              <a:gd name="connsiteY1" fmla="*/ 51306 h 2271553"/>
              <a:gd name="connsiteX2" fmla="*/ 2345107 w 4219276"/>
              <a:gd name="connsiteY2" fmla="*/ 296333 h 2271553"/>
              <a:gd name="connsiteX3" fmla="*/ 4211608 w 4219276"/>
              <a:gd name="connsiteY3" fmla="*/ 475660 h 2271553"/>
              <a:gd name="connsiteX4" fmla="*/ 3452479 w 4219276"/>
              <a:gd name="connsiteY4" fmla="*/ 2039904 h 2271553"/>
              <a:gd name="connsiteX5" fmla="*/ 2043267 w 4219276"/>
              <a:gd name="connsiteY5" fmla="*/ 2235214 h 2271553"/>
              <a:gd name="connsiteX6" fmla="*/ 1064386 w 4219276"/>
              <a:gd name="connsiteY6" fmla="*/ 1755819 h 2271553"/>
              <a:gd name="connsiteX7" fmla="*/ 8090 w 4219276"/>
              <a:gd name="connsiteY7" fmla="*/ 502293 h 2271553"/>
              <a:gd name="connsiteX0" fmla="*/ 8090 w 4219276"/>
              <a:gd name="connsiteY0" fmla="*/ 502293 h 3160345"/>
              <a:gd name="connsiteX1" fmla="*/ 1632557 w 4219276"/>
              <a:gd name="connsiteY1" fmla="*/ 51306 h 3160345"/>
              <a:gd name="connsiteX2" fmla="*/ 2345107 w 4219276"/>
              <a:gd name="connsiteY2" fmla="*/ 296333 h 3160345"/>
              <a:gd name="connsiteX3" fmla="*/ 4211608 w 4219276"/>
              <a:gd name="connsiteY3" fmla="*/ 475660 h 3160345"/>
              <a:gd name="connsiteX4" fmla="*/ 3452479 w 4219276"/>
              <a:gd name="connsiteY4" fmla="*/ 2039904 h 3160345"/>
              <a:gd name="connsiteX5" fmla="*/ 2096533 w 4219276"/>
              <a:gd name="connsiteY5" fmla="*/ 3158492 h 3160345"/>
              <a:gd name="connsiteX6" fmla="*/ 1064386 w 4219276"/>
              <a:gd name="connsiteY6" fmla="*/ 1755819 h 3160345"/>
              <a:gd name="connsiteX7" fmla="*/ 8090 w 4219276"/>
              <a:gd name="connsiteY7" fmla="*/ 502293 h 3160345"/>
              <a:gd name="connsiteX0" fmla="*/ 8090 w 4214415"/>
              <a:gd name="connsiteY0" fmla="*/ 502293 h 3161575"/>
              <a:gd name="connsiteX1" fmla="*/ 1632557 w 4214415"/>
              <a:gd name="connsiteY1" fmla="*/ 51306 h 3161575"/>
              <a:gd name="connsiteX2" fmla="*/ 2345107 w 4214415"/>
              <a:gd name="connsiteY2" fmla="*/ 296333 h 3161575"/>
              <a:gd name="connsiteX3" fmla="*/ 4211608 w 4214415"/>
              <a:gd name="connsiteY3" fmla="*/ 475660 h 3161575"/>
              <a:gd name="connsiteX4" fmla="*/ 2529201 w 4214415"/>
              <a:gd name="connsiteY4" fmla="*/ 1320813 h 3161575"/>
              <a:gd name="connsiteX5" fmla="*/ 2096533 w 4214415"/>
              <a:gd name="connsiteY5" fmla="*/ 3158492 h 3161575"/>
              <a:gd name="connsiteX6" fmla="*/ 1064386 w 4214415"/>
              <a:gd name="connsiteY6" fmla="*/ 1755819 h 3161575"/>
              <a:gd name="connsiteX7" fmla="*/ 8090 w 4214415"/>
              <a:gd name="connsiteY7" fmla="*/ 502293 h 3161575"/>
              <a:gd name="connsiteX0" fmla="*/ 8090 w 3789453"/>
              <a:gd name="connsiteY0" fmla="*/ 503154 h 3162436"/>
              <a:gd name="connsiteX1" fmla="*/ 1632557 w 3789453"/>
              <a:gd name="connsiteY1" fmla="*/ 52167 h 3162436"/>
              <a:gd name="connsiteX2" fmla="*/ 2345107 w 3789453"/>
              <a:gd name="connsiteY2" fmla="*/ 297194 h 3162436"/>
              <a:gd name="connsiteX3" fmla="*/ 3785480 w 3789453"/>
              <a:gd name="connsiteY3" fmla="*/ 529787 h 3162436"/>
              <a:gd name="connsiteX4" fmla="*/ 2529201 w 3789453"/>
              <a:gd name="connsiteY4" fmla="*/ 1321674 h 3162436"/>
              <a:gd name="connsiteX5" fmla="*/ 2096533 w 3789453"/>
              <a:gd name="connsiteY5" fmla="*/ 3159353 h 3162436"/>
              <a:gd name="connsiteX6" fmla="*/ 1064386 w 3789453"/>
              <a:gd name="connsiteY6" fmla="*/ 1756680 h 3162436"/>
              <a:gd name="connsiteX7" fmla="*/ 8090 w 3789453"/>
              <a:gd name="connsiteY7" fmla="*/ 503154 h 3162436"/>
              <a:gd name="connsiteX0" fmla="*/ 39 w 3781402"/>
              <a:gd name="connsiteY0" fmla="*/ 1332996 h 3992278"/>
              <a:gd name="connsiteX1" fmla="*/ 1091846 w 3781402"/>
              <a:gd name="connsiteY1" fmla="*/ 20875 h 3992278"/>
              <a:gd name="connsiteX2" fmla="*/ 2337056 w 3781402"/>
              <a:gd name="connsiteY2" fmla="*/ 1127036 h 3992278"/>
              <a:gd name="connsiteX3" fmla="*/ 3777429 w 3781402"/>
              <a:gd name="connsiteY3" fmla="*/ 1359629 h 3992278"/>
              <a:gd name="connsiteX4" fmla="*/ 2521150 w 3781402"/>
              <a:gd name="connsiteY4" fmla="*/ 2151516 h 3992278"/>
              <a:gd name="connsiteX5" fmla="*/ 2088482 w 3781402"/>
              <a:gd name="connsiteY5" fmla="*/ 3989195 h 3992278"/>
              <a:gd name="connsiteX6" fmla="*/ 1056335 w 3781402"/>
              <a:gd name="connsiteY6" fmla="*/ 2586522 h 3992278"/>
              <a:gd name="connsiteX7" fmla="*/ 39 w 3781402"/>
              <a:gd name="connsiteY7" fmla="*/ 1332996 h 3992278"/>
              <a:gd name="connsiteX0" fmla="*/ 39 w 3781402"/>
              <a:gd name="connsiteY0" fmla="*/ 1486877 h 4146159"/>
              <a:gd name="connsiteX1" fmla="*/ 1091846 w 3781402"/>
              <a:gd name="connsiteY1" fmla="*/ 174756 h 4146159"/>
              <a:gd name="connsiteX2" fmla="*/ 3029514 w 3781402"/>
              <a:gd name="connsiteY2" fmla="*/ 135698 h 4146159"/>
              <a:gd name="connsiteX3" fmla="*/ 3777429 w 3781402"/>
              <a:gd name="connsiteY3" fmla="*/ 1513510 h 4146159"/>
              <a:gd name="connsiteX4" fmla="*/ 2521150 w 3781402"/>
              <a:gd name="connsiteY4" fmla="*/ 2305397 h 4146159"/>
              <a:gd name="connsiteX5" fmla="*/ 2088482 w 3781402"/>
              <a:gd name="connsiteY5" fmla="*/ 4143076 h 4146159"/>
              <a:gd name="connsiteX6" fmla="*/ 1056335 w 3781402"/>
              <a:gd name="connsiteY6" fmla="*/ 2740403 h 4146159"/>
              <a:gd name="connsiteX7" fmla="*/ 39 w 3781402"/>
              <a:gd name="connsiteY7" fmla="*/ 1486877 h 4146159"/>
              <a:gd name="connsiteX0" fmla="*/ 436 w 3160362"/>
              <a:gd name="connsiteY0" fmla="*/ 1611164 h 4146159"/>
              <a:gd name="connsiteX1" fmla="*/ 470806 w 3160362"/>
              <a:gd name="connsiteY1" fmla="*/ 174756 h 4146159"/>
              <a:gd name="connsiteX2" fmla="*/ 2408474 w 3160362"/>
              <a:gd name="connsiteY2" fmla="*/ 135698 h 4146159"/>
              <a:gd name="connsiteX3" fmla="*/ 3156389 w 3160362"/>
              <a:gd name="connsiteY3" fmla="*/ 1513510 h 4146159"/>
              <a:gd name="connsiteX4" fmla="*/ 1900110 w 3160362"/>
              <a:gd name="connsiteY4" fmla="*/ 2305397 h 4146159"/>
              <a:gd name="connsiteX5" fmla="*/ 1467442 w 3160362"/>
              <a:gd name="connsiteY5" fmla="*/ 4143076 h 4146159"/>
              <a:gd name="connsiteX6" fmla="*/ 435295 w 3160362"/>
              <a:gd name="connsiteY6" fmla="*/ 2740403 h 4146159"/>
              <a:gd name="connsiteX7" fmla="*/ 436 w 3160362"/>
              <a:gd name="connsiteY7" fmla="*/ 1611164 h 4146159"/>
              <a:gd name="connsiteX0" fmla="*/ 436 w 3350181"/>
              <a:gd name="connsiteY0" fmla="*/ 1611164 h 4149884"/>
              <a:gd name="connsiteX1" fmla="*/ 470806 w 3350181"/>
              <a:gd name="connsiteY1" fmla="*/ 174756 h 4149884"/>
              <a:gd name="connsiteX2" fmla="*/ 2408474 w 3350181"/>
              <a:gd name="connsiteY2" fmla="*/ 135698 h 4149884"/>
              <a:gd name="connsiteX3" fmla="*/ 3156389 w 3350181"/>
              <a:gd name="connsiteY3" fmla="*/ 1513510 h 4149884"/>
              <a:gd name="connsiteX4" fmla="*/ 3178494 w 3350181"/>
              <a:gd name="connsiteY4" fmla="*/ 3237552 h 4149884"/>
              <a:gd name="connsiteX5" fmla="*/ 1467442 w 3350181"/>
              <a:gd name="connsiteY5" fmla="*/ 4143076 h 4149884"/>
              <a:gd name="connsiteX6" fmla="*/ 435295 w 3350181"/>
              <a:gd name="connsiteY6" fmla="*/ 2740403 h 4149884"/>
              <a:gd name="connsiteX7" fmla="*/ 436 w 3350181"/>
              <a:gd name="connsiteY7" fmla="*/ 1611164 h 4149884"/>
              <a:gd name="connsiteX0" fmla="*/ 436 w 3242380"/>
              <a:gd name="connsiteY0" fmla="*/ 1628055 h 4166775"/>
              <a:gd name="connsiteX1" fmla="*/ 470806 w 3242380"/>
              <a:gd name="connsiteY1" fmla="*/ 191647 h 4166775"/>
              <a:gd name="connsiteX2" fmla="*/ 2408474 w 3242380"/>
              <a:gd name="connsiteY2" fmla="*/ 152589 h 4166775"/>
              <a:gd name="connsiteX3" fmla="*/ 2179845 w 3242380"/>
              <a:gd name="connsiteY3" fmla="*/ 1770099 h 4166775"/>
              <a:gd name="connsiteX4" fmla="*/ 3178494 w 3242380"/>
              <a:gd name="connsiteY4" fmla="*/ 3254443 h 4166775"/>
              <a:gd name="connsiteX5" fmla="*/ 1467442 w 3242380"/>
              <a:gd name="connsiteY5" fmla="*/ 4159967 h 4166775"/>
              <a:gd name="connsiteX6" fmla="*/ 435295 w 3242380"/>
              <a:gd name="connsiteY6" fmla="*/ 2757294 h 4166775"/>
              <a:gd name="connsiteX7" fmla="*/ 436 w 3242380"/>
              <a:gd name="connsiteY7" fmla="*/ 1628055 h 4166775"/>
              <a:gd name="connsiteX0" fmla="*/ 437850 w 3679794"/>
              <a:gd name="connsiteY0" fmla="*/ 1628055 h 4160098"/>
              <a:gd name="connsiteX1" fmla="*/ 908220 w 3679794"/>
              <a:gd name="connsiteY1" fmla="*/ 191647 h 4160098"/>
              <a:gd name="connsiteX2" fmla="*/ 2845888 w 3679794"/>
              <a:gd name="connsiteY2" fmla="*/ 152589 h 4160098"/>
              <a:gd name="connsiteX3" fmla="*/ 2617259 w 3679794"/>
              <a:gd name="connsiteY3" fmla="*/ 1770099 h 4160098"/>
              <a:gd name="connsiteX4" fmla="*/ 3615908 w 3679794"/>
              <a:gd name="connsiteY4" fmla="*/ 3254443 h 4160098"/>
              <a:gd name="connsiteX5" fmla="*/ 1904856 w 3679794"/>
              <a:gd name="connsiteY5" fmla="*/ 4159967 h 4160098"/>
              <a:gd name="connsiteX6" fmla="*/ 135862 w 3679794"/>
              <a:gd name="connsiteY6" fmla="*/ 3316587 h 4160098"/>
              <a:gd name="connsiteX7" fmla="*/ 437850 w 3679794"/>
              <a:gd name="connsiteY7" fmla="*/ 1628055 h 4160098"/>
              <a:gd name="connsiteX0" fmla="*/ 445706 w 3687650"/>
              <a:gd name="connsiteY0" fmla="*/ 1488636 h 4020679"/>
              <a:gd name="connsiteX1" fmla="*/ 1235672 w 3687650"/>
              <a:gd name="connsiteY1" fmla="*/ 877851 h 4020679"/>
              <a:gd name="connsiteX2" fmla="*/ 2853744 w 3687650"/>
              <a:gd name="connsiteY2" fmla="*/ 13170 h 4020679"/>
              <a:gd name="connsiteX3" fmla="*/ 2625115 w 3687650"/>
              <a:gd name="connsiteY3" fmla="*/ 1630680 h 4020679"/>
              <a:gd name="connsiteX4" fmla="*/ 3623764 w 3687650"/>
              <a:gd name="connsiteY4" fmla="*/ 3115024 h 4020679"/>
              <a:gd name="connsiteX5" fmla="*/ 1912712 w 3687650"/>
              <a:gd name="connsiteY5" fmla="*/ 4020548 h 4020679"/>
              <a:gd name="connsiteX6" fmla="*/ 143718 w 3687650"/>
              <a:gd name="connsiteY6" fmla="*/ 3177168 h 4020679"/>
              <a:gd name="connsiteX7" fmla="*/ 445706 w 3687650"/>
              <a:gd name="connsiteY7" fmla="*/ 1488636 h 4020679"/>
              <a:gd name="connsiteX0" fmla="*/ 445706 w 3687650"/>
              <a:gd name="connsiteY0" fmla="*/ 663681 h 3195724"/>
              <a:gd name="connsiteX1" fmla="*/ 1235672 w 3687650"/>
              <a:gd name="connsiteY1" fmla="*/ 52896 h 3195724"/>
              <a:gd name="connsiteX2" fmla="*/ 2445372 w 3687650"/>
              <a:gd name="connsiteY2" fmla="*/ 333435 h 3195724"/>
              <a:gd name="connsiteX3" fmla="*/ 2625115 w 3687650"/>
              <a:gd name="connsiteY3" fmla="*/ 805725 h 3195724"/>
              <a:gd name="connsiteX4" fmla="*/ 3623764 w 3687650"/>
              <a:gd name="connsiteY4" fmla="*/ 2290069 h 3195724"/>
              <a:gd name="connsiteX5" fmla="*/ 1912712 w 3687650"/>
              <a:gd name="connsiteY5" fmla="*/ 3195593 h 3195724"/>
              <a:gd name="connsiteX6" fmla="*/ 143718 w 3687650"/>
              <a:gd name="connsiteY6" fmla="*/ 2352213 h 3195724"/>
              <a:gd name="connsiteX7" fmla="*/ 445706 w 3687650"/>
              <a:gd name="connsiteY7" fmla="*/ 663681 h 3195724"/>
              <a:gd name="connsiteX0" fmla="*/ 445706 w 4040777"/>
              <a:gd name="connsiteY0" fmla="*/ 658777 h 3190820"/>
              <a:gd name="connsiteX1" fmla="*/ 1235672 w 4040777"/>
              <a:gd name="connsiteY1" fmla="*/ 47992 h 3190820"/>
              <a:gd name="connsiteX2" fmla="*/ 2445372 w 4040777"/>
              <a:gd name="connsiteY2" fmla="*/ 328531 h 3190820"/>
              <a:gd name="connsiteX3" fmla="*/ 4018909 w 4040777"/>
              <a:gd name="connsiteY3" fmla="*/ 481225 h 3190820"/>
              <a:gd name="connsiteX4" fmla="*/ 3623764 w 4040777"/>
              <a:gd name="connsiteY4" fmla="*/ 2285165 h 3190820"/>
              <a:gd name="connsiteX5" fmla="*/ 1912712 w 4040777"/>
              <a:gd name="connsiteY5" fmla="*/ 3190689 h 3190820"/>
              <a:gd name="connsiteX6" fmla="*/ 143718 w 4040777"/>
              <a:gd name="connsiteY6" fmla="*/ 2347309 h 3190820"/>
              <a:gd name="connsiteX7" fmla="*/ 445706 w 4040777"/>
              <a:gd name="connsiteY7" fmla="*/ 658777 h 3190820"/>
              <a:gd name="connsiteX0" fmla="*/ 445706 w 4022199"/>
              <a:gd name="connsiteY0" fmla="*/ 658777 h 3210308"/>
              <a:gd name="connsiteX1" fmla="*/ 1235672 w 4022199"/>
              <a:gd name="connsiteY1" fmla="*/ 47992 h 3210308"/>
              <a:gd name="connsiteX2" fmla="*/ 2445372 w 4022199"/>
              <a:gd name="connsiteY2" fmla="*/ 328531 h 3210308"/>
              <a:gd name="connsiteX3" fmla="*/ 4018909 w 4022199"/>
              <a:gd name="connsiteY3" fmla="*/ 481225 h 3210308"/>
              <a:gd name="connsiteX4" fmla="*/ 2549566 w 4022199"/>
              <a:gd name="connsiteY4" fmla="*/ 1450664 h 3210308"/>
              <a:gd name="connsiteX5" fmla="*/ 1912712 w 4022199"/>
              <a:gd name="connsiteY5" fmla="*/ 3190689 h 3210308"/>
              <a:gd name="connsiteX6" fmla="*/ 143718 w 4022199"/>
              <a:gd name="connsiteY6" fmla="*/ 2347309 h 3210308"/>
              <a:gd name="connsiteX7" fmla="*/ 445706 w 4022199"/>
              <a:gd name="connsiteY7" fmla="*/ 658777 h 3210308"/>
              <a:gd name="connsiteX0" fmla="*/ 3333 w 3579826"/>
              <a:gd name="connsiteY0" fmla="*/ 658777 h 3190991"/>
              <a:gd name="connsiteX1" fmla="*/ 793299 w 3579826"/>
              <a:gd name="connsiteY1" fmla="*/ 47992 h 3190991"/>
              <a:gd name="connsiteX2" fmla="*/ 2002999 w 3579826"/>
              <a:gd name="connsiteY2" fmla="*/ 328531 h 3190991"/>
              <a:gd name="connsiteX3" fmla="*/ 3576536 w 3579826"/>
              <a:gd name="connsiteY3" fmla="*/ 481225 h 3190991"/>
              <a:gd name="connsiteX4" fmla="*/ 2107193 w 3579826"/>
              <a:gd name="connsiteY4" fmla="*/ 1450664 h 3190991"/>
              <a:gd name="connsiteX5" fmla="*/ 1470339 w 3579826"/>
              <a:gd name="connsiteY5" fmla="*/ 3190689 h 3190991"/>
              <a:gd name="connsiteX6" fmla="*/ 589112 w 3579826"/>
              <a:gd name="connsiteY6" fmla="*/ 1592707 h 3190991"/>
              <a:gd name="connsiteX7" fmla="*/ 3333 w 3579826"/>
              <a:gd name="connsiteY7" fmla="*/ 658777 h 3190991"/>
              <a:gd name="connsiteX0" fmla="*/ 1382 w 3950737"/>
              <a:gd name="connsiteY0" fmla="*/ 694288 h 3190991"/>
              <a:gd name="connsiteX1" fmla="*/ 1164210 w 3950737"/>
              <a:gd name="connsiteY1" fmla="*/ 47992 h 3190991"/>
              <a:gd name="connsiteX2" fmla="*/ 2373910 w 3950737"/>
              <a:gd name="connsiteY2" fmla="*/ 328531 h 3190991"/>
              <a:gd name="connsiteX3" fmla="*/ 3947447 w 3950737"/>
              <a:gd name="connsiteY3" fmla="*/ 481225 h 3190991"/>
              <a:gd name="connsiteX4" fmla="*/ 2478104 w 3950737"/>
              <a:gd name="connsiteY4" fmla="*/ 1450664 h 3190991"/>
              <a:gd name="connsiteX5" fmla="*/ 1841250 w 3950737"/>
              <a:gd name="connsiteY5" fmla="*/ 3190689 h 3190991"/>
              <a:gd name="connsiteX6" fmla="*/ 960023 w 3950737"/>
              <a:gd name="connsiteY6" fmla="*/ 1592707 h 3190991"/>
              <a:gd name="connsiteX7" fmla="*/ 1382 w 3950737"/>
              <a:gd name="connsiteY7" fmla="*/ 694288 h 3190991"/>
              <a:gd name="connsiteX0" fmla="*/ 1382 w 3954221"/>
              <a:gd name="connsiteY0" fmla="*/ 694288 h 3194843"/>
              <a:gd name="connsiteX1" fmla="*/ 1164210 w 3954221"/>
              <a:gd name="connsiteY1" fmla="*/ 47992 h 3194843"/>
              <a:gd name="connsiteX2" fmla="*/ 2373910 w 3954221"/>
              <a:gd name="connsiteY2" fmla="*/ 328531 h 3194843"/>
              <a:gd name="connsiteX3" fmla="*/ 3947447 w 3954221"/>
              <a:gd name="connsiteY3" fmla="*/ 481225 h 3194843"/>
              <a:gd name="connsiteX4" fmla="*/ 3117297 w 3954221"/>
              <a:gd name="connsiteY4" fmla="*/ 2036590 h 3194843"/>
              <a:gd name="connsiteX5" fmla="*/ 1841250 w 3954221"/>
              <a:gd name="connsiteY5" fmla="*/ 3190689 h 3194843"/>
              <a:gd name="connsiteX6" fmla="*/ 960023 w 3954221"/>
              <a:gd name="connsiteY6" fmla="*/ 1592707 h 3194843"/>
              <a:gd name="connsiteX7" fmla="*/ 1382 w 3954221"/>
              <a:gd name="connsiteY7" fmla="*/ 694288 h 3194843"/>
              <a:gd name="connsiteX0" fmla="*/ 1382 w 3954221"/>
              <a:gd name="connsiteY0" fmla="*/ 694288 h 2806911"/>
              <a:gd name="connsiteX1" fmla="*/ 1164210 w 3954221"/>
              <a:gd name="connsiteY1" fmla="*/ 47992 h 2806911"/>
              <a:gd name="connsiteX2" fmla="*/ 2373910 w 3954221"/>
              <a:gd name="connsiteY2" fmla="*/ 328531 h 2806911"/>
              <a:gd name="connsiteX3" fmla="*/ 3947447 w 3954221"/>
              <a:gd name="connsiteY3" fmla="*/ 481225 h 2806911"/>
              <a:gd name="connsiteX4" fmla="*/ 3117297 w 3954221"/>
              <a:gd name="connsiteY4" fmla="*/ 2036590 h 2806911"/>
              <a:gd name="connsiteX5" fmla="*/ 1779107 w 3954221"/>
              <a:gd name="connsiteY5" fmla="*/ 2800072 h 2806911"/>
              <a:gd name="connsiteX6" fmla="*/ 960023 w 3954221"/>
              <a:gd name="connsiteY6" fmla="*/ 1592707 h 2806911"/>
              <a:gd name="connsiteX7" fmla="*/ 1382 w 3954221"/>
              <a:gd name="connsiteY7" fmla="*/ 694288 h 2806911"/>
              <a:gd name="connsiteX0" fmla="*/ 1431 w 3816706"/>
              <a:gd name="connsiteY0" fmla="*/ 629960 h 2766859"/>
              <a:gd name="connsiteX1" fmla="*/ 1026695 w 3816706"/>
              <a:gd name="connsiteY1" fmla="*/ 7940 h 2766859"/>
              <a:gd name="connsiteX2" fmla="*/ 2236395 w 3816706"/>
              <a:gd name="connsiteY2" fmla="*/ 288479 h 2766859"/>
              <a:gd name="connsiteX3" fmla="*/ 3809932 w 3816706"/>
              <a:gd name="connsiteY3" fmla="*/ 441173 h 2766859"/>
              <a:gd name="connsiteX4" fmla="*/ 2979782 w 3816706"/>
              <a:gd name="connsiteY4" fmla="*/ 1996538 h 2766859"/>
              <a:gd name="connsiteX5" fmla="*/ 1641592 w 3816706"/>
              <a:gd name="connsiteY5" fmla="*/ 2760020 h 2766859"/>
              <a:gd name="connsiteX6" fmla="*/ 822508 w 3816706"/>
              <a:gd name="connsiteY6" fmla="*/ 1552655 h 2766859"/>
              <a:gd name="connsiteX7" fmla="*/ 1431 w 3816706"/>
              <a:gd name="connsiteY7" fmla="*/ 629960 h 2766859"/>
              <a:gd name="connsiteX0" fmla="*/ 207 w 3815482"/>
              <a:gd name="connsiteY0" fmla="*/ 629960 h 2766859"/>
              <a:gd name="connsiteX1" fmla="*/ 1025471 w 3815482"/>
              <a:gd name="connsiteY1" fmla="*/ 7940 h 2766859"/>
              <a:gd name="connsiteX2" fmla="*/ 2235171 w 3815482"/>
              <a:gd name="connsiteY2" fmla="*/ 288479 h 2766859"/>
              <a:gd name="connsiteX3" fmla="*/ 3808708 w 3815482"/>
              <a:gd name="connsiteY3" fmla="*/ 441173 h 2766859"/>
              <a:gd name="connsiteX4" fmla="*/ 2978558 w 3815482"/>
              <a:gd name="connsiteY4" fmla="*/ 1996538 h 2766859"/>
              <a:gd name="connsiteX5" fmla="*/ 1640368 w 3815482"/>
              <a:gd name="connsiteY5" fmla="*/ 2760020 h 2766859"/>
              <a:gd name="connsiteX6" fmla="*/ 942664 w 3815482"/>
              <a:gd name="connsiteY6" fmla="*/ 1512194 h 2766859"/>
              <a:gd name="connsiteX7" fmla="*/ 207 w 3815482"/>
              <a:gd name="connsiteY7" fmla="*/ 629960 h 2766859"/>
              <a:gd name="connsiteX0" fmla="*/ 145646 w 3960921"/>
              <a:gd name="connsiteY0" fmla="*/ 974056 h 3110955"/>
              <a:gd name="connsiteX1" fmla="*/ 240326 w 3960921"/>
              <a:gd name="connsiteY1" fmla="*/ 4079 h 3110955"/>
              <a:gd name="connsiteX2" fmla="*/ 2380610 w 3960921"/>
              <a:gd name="connsiteY2" fmla="*/ 632575 h 3110955"/>
              <a:gd name="connsiteX3" fmla="*/ 3954147 w 3960921"/>
              <a:gd name="connsiteY3" fmla="*/ 785269 h 3110955"/>
              <a:gd name="connsiteX4" fmla="*/ 3123997 w 3960921"/>
              <a:gd name="connsiteY4" fmla="*/ 2340634 h 3110955"/>
              <a:gd name="connsiteX5" fmla="*/ 1785807 w 3960921"/>
              <a:gd name="connsiteY5" fmla="*/ 3104116 h 3110955"/>
              <a:gd name="connsiteX6" fmla="*/ 1088103 w 3960921"/>
              <a:gd name="connsiteY6" fmla="*/ 1856290 h 3110955"/>
              <a:gd name="connsiteX7" fmla="*/ 145646 w 3960921"/>
              <a:gd name="connsiteY7" fmla="*/ 974056 h 3110955"/>
              <a:gd name="connsiteX0" fmla="*/ 111973 w 3961223"/>
              <a:gd name="connsiteY0" fmla="*/ 1942259 h 4079158"/>
              <a:gd name="connsiteX1" fmla="*/ 206653 w 3961223"/>
              <a:gd name="connsiteY1" fmla="*/ 972282 h 4079158"/>
              <a:gd name="connsiteX2" fmla="*/ 1804771 w 3961223"/>
              <a:gd name="connsiteY2" fmla="*/ 14739 h 4079158"/>
              <a:gd name="connsiteX3" fmla="*/ 3920474 w 3961223"/>
              <a:gd name="connsiteY3" fmla="*/ 1753472 h 4079158"/>
              <a:gd name="connsiteX4" fmla="*/ 3090324 w 3961223"/>
              <a:gd name="connsiteY4" fmla="*/ 3308837 h 4079158"/>
              <a:gd name="connsiteX5" fmla="*/ 1752134 w 3961223"/>
              <a:gd name="connsiteY5" fmla="*/ 4072319 h 4079158"/>
              <a:gd name="connsiteX6" fmla="*/ 1054430 w 3961223"/>
              <a:gd name="connsiteY6" fmla="*/ 2824493 h 4079158"/>
              <a:gd name="connsiteX7" fmla="*/ 111973 w 3961223"/>
              <a:gd name="connsiteY7" fmla="*/ 1942259 h 4079158"/>
              <a:gd name="connsiteX0" fmla="*/ 111973 w 3125640"/>
              <a:gd name="connsiteY0" fmla="*/ 1934333 h 4073180"/>
              <a:gd name="connsiteX1" fmla="*/ 206653 w 3125640"/>
              <a:gd name="connsiteY1" fmla="*/ 964356 h 4073180"/>
              <a:gd name="connsiteX2" fmla="*/ 1804771 w 3125640"/>
              <a:gd name="connsiteY2" fmla="*/ 6813 h 4073180"/>
              <a:gd name="connsiteX3" fmla="*/ 2658116 w 3125640"/>
              <a:gd name="connsiteY3" fmla="*/ 1470417 h 4073180"/>
              <a:gd name="connsiteX4" fmla="*/ 3090324 w 3125640"/>
              <a:gd name="connsiteY4" fmla="*/ 3300911 h 4073180"/>
              <a:gd name="connsiteX5" fmla="*/ 1752134 w 3125640"/>
              <a:gd name="connsiteY5" fmla="*/ 4064393 h 4073180"/>
              <a:gd name="connsiteX6" fmla="*/ 1054430 w 3125640"/>
              <a:gd name="connsiteY6" fmla="*/ 2816567 h 4073180"/>
              <a:gd name="connsiteX7" fmla="*/ 111973 w 3125640"/>
              <a:gd name="connsiteY7" fmla="*/ 1934333 h 4073180"/>
              <a:gd name="connsiteX0" fmla="*/ 111973 w 2920261"/>
              <a:gd name="connsiteY0" fmla="*/ 1934333 h 4067382"/>
              <a:gd name="connsiteX1" fmla="*/ 206653 w 2920261"/>
              <a:gd name="connsiteY1" fmla="*/ 964356 h 4067382"/>
              <a:gd name="connsiteX2" fmla="*/ 1804771 w 2920261"/>
              <a:gd name="connsiteY2" fmla="*/ 6813 h 4067382"/>
              <a:gd name="connsiteX3" fmla="*/ 2658116 w 2920261"/>
              <a:gd name="connsiteY3" fmla="*/ 1470417 h 4067382"/>
              <a:gd name="connsiteX4" fmla="*/ 2863747 w 2920261"/>
              <a:gd name="connsiteY4" fmla="*/ 2386511 h 4067382"/>
              <a:gd name="connsiteX5" fmla="*/ 1752134 w 2920261"/>
              <a:gd name="connsiteY5" fmla="*/ 4064393 h 4067382"/>
              <a:gd name="connsiteX6" fmla="*/ 1054430 w 2920261"/>
              <a:gd name="connsiteY6" fmla="*/ 2816567 h 4067382"/>
              <a:gd name="connsiteX7" fmla="*/ 111973 w 2920261"/>
              <a:gd name="connsiteY7" fmla="*/ 1934333 h 4067382"/>
              <a:gd name="connsiteX0" fmla="*/ 111973 w 2866782"/>
              <a:gd name="connsiteY0" fmla="*/ 1934333 h 3671818"/>
              <a:gd name="connsiteX1" fmla="*/ 206653 w 2866782"/>
              <a:gd name="connsiteY1" fmla="*/ 964356 h 3671818"/>
              <a:gd name="connsiteX2" fmla="*/ 1804771 w 2866782"/>
              <a:gd name="connsiteY2" fmla="*/ 6813 h 3671818"/>
              <a:gd name="connsiteX3" fmla="*/ 2658116 w 2866782"/>
              <a:gd name="connsiteY3" fmla="*/ 1470417 h 3671818"/>
              <a:gd name="connsiteX4" fmla="*/ 2863747 w 2866782"/>
              <a:gd name="connsiteY4" fmla="*/ 2386511 h 3671818"/>
              <a:gd name="connsiteX5" fmla="*/ 2561338 w 2866782"/>
              <a:gd name="connsiteY5" fmla="*/ 3667883 h 3671818"/>
              <a:gd name="connsiteX6" fmla="*/ 1054430 w 2866782"/>
              <a:gd name="connsiteY6" fmla="*/ 2816567 h 3671818"/>
              <a:gd name="connsiteX7" fmla="*/ 111973 w 2866782"/>
              <a:gd name="connsiteY7" fmla="*/ 1934333 h 3671818"/>
              <a:gd name="connsiteX0" fmla="*/ 116798 w 2871607"/>
              <a:gd name="connsiteY0" fmla="*/ 1934333 h 3671818"/>
              <a:gd name="connsiteX1" fmla="*/ 211478 w 2871607"/>
              <a:gd name="connsiteY1" fmla="*/ 964356 h 3671818"/>
              <a:gd name="connsiteX2" fmla="*/ 1809596 w 2871607"/>
              <a:gd name="connsiteY2" fmla="*/ 6813 h 3671818"/>
              <a:gd name="connsiteX3" fmla="*/ 2662941 w 2871607"/>
              <a:gd name="connsiteY3" fmla="*/ 1470417 h 3671818"/>
              <a:gd name="connsiteX4" fmla="*/ 2868572 w 2871607"/>
              <a:gd name="connsiteY4" fmla="*/ 2386511 h 3671818"/>
              <a:gd name="connsiteX5" fmla="*/ 2566163 w 2871607"/>
              <a:gd name="connsiteY5" fmla="*/ 3667883 h 3671818"/>
              <a:gd name="connsiteX6" fmla="*/ 1132084 w 2871607"/>
              <a:gd name="connsiteY6" fmla="*/ 3463929 h 3671818"/>
              <a:gd name="connsiteX7" fmla="*/ 116798 w 2871607"/>
              <a:gd name="connsiteY7" fmla="*/ 1934333 h 3671818"/>
              <a:gd name="connsiteX0" fmla="*/ 388403 w 2722426"/>
              <a:gd name="connsiteY0" fmla="*/ 2388189 h 3672520"/>
              <a:gd name="connsiteX1" fmla="*/ 62297 w 2722426"/>
              <a:gd name="connsiteY1" fmla="*/ 965058 h 3672520"/>
              <a:gd name="connsiteX2" fmla="*/ 1660415 w 2722426"/>
              <a:gd name="connsiteY2" fmla="*/ 7515 h 3672520"/>
              <a:gd name="connsiteX3" fmla="*/ 2513760 w 2722426"/>
              <a:gd name="connsiteY3" fmla="*/ 1471119 h 3672520"/>
              <a:gd name="connsiteX4" fmla="*/ 2719391 w 2722426"/>
              <a:gd name="connsiteY4" fmla="*/ 2387213 h 3672520"/>
              <a:gd name="connsiteX5" fmla="*/ 2416982 w 2722426"/>
              <a:gd name="connsiteY5" fmla="*/ 3668585 h 3672520"/>
              <a:gd name="connsiteX6" fmla="*/ 982903 w 2722426"/>
              <a:gd name="connsiteY6" fmla="*/ 3464631 h 3672520"/>
              <a:gd name="connsiteX7" fmla="*/ 388403 w 2722426"/>
              <a:gd name="connsiteY7" fmla="*/ 2388189 h 3672520"/>
              <a:gd name="connsiteX0" fmla="*/ 386520 w 2720543"/>
              <a:gd name="connsiteY0" fmla="*/ 2388189 h 3728389"/>
              <a:gd name="connsiteX1" fmla="*/ 60414 w 2720543"/>
              <a:gd name="connsiteY1" fmla="*/ 965058 h 3728389"/>
              <a:gd name="connsiteX2" fmla="*/ 1658532 w 2720543"/>
              <a:gd name="connsiteY2" fmla="*/ 7515 h 3728389"/>
              <a:gd name="connsiteX3" fmla="*/ 2511877 w 2720543"/>
              <a:gd name="connsiteY3" fmla="*/ 1471119 h 3728389"/>
              <a:gd name="connsiteX4" fmla="*/ 2717508 w 2720543"/>
              <a:gd name="connsiteY4" fmla="*/ 2387213 h 3728389"/>
              <a:gd name="connsiteX5" fmla="*/ 2415099 w 2720543"/>
              <a:gd name="connsiteY5" fmla="*/ 3668585 h 3728389"/>
              <a:gd name="connsiteX6" fmla="*/ 867731 w 2720543"/>
              <a:gd name="connsiteY6" fmla="*/ 3642655 h 3728389"/>
              <a:gd name="connsiteX7" fmla="*/ 386520 w 2720543"/>
              <a:gd name="connsiteY7" fmla="*/ 2388189 h 3728389"/>
              <a:gd name="connsiteX0" fmla="*/ 681022 w 3015045"/>
              <a:gd name="connsiteY0" fmla="*/ 2380787 h 3720987"/>
              <a:gd name="connsiteX1" fmla="*/ 41247 w 3015045"/>
              <a:gd name="connsiteY1" fmla="*/ 1389730 h 3720987"/>
              <a:gd name="connsiteX2" fmla="*/ 1953034 w 3015045"/>
              <a:gd name="connsiteY2" fmla="*/ 113 h 3720987"/>
              <a:gd name="connsiteX3" fmla="*/ 2806379 w 3015045"/>
              <a:gd name="connsiteY3" fmla="*/ 1463717 h 3720987"/>
              <a:gd name="connsiteX4" fmla="*/ 3012010 w 3015045"/>
              <a:gd name="connsiteY4" fmla="*/ 2379811 h 3720987"/>
              <a:gd name="connsiteX5" fmla="*/ 2709601 w 3015045"/>
              <a:gd name="connsiteY5" fmla="*/ 3661183 h 3720987"/>
              <a:gd name="connsiteX6" fmla="*/ 1162233 w 3015045"/>
              <a:gd name="connsiteY6" fmla="*/ 3635253 h 3720987"/>
              <a:gd name="connsiteX7" fmla="*/ 681022 w 3015045"/>
              <a:gd name="connsiteY7" fmla="*/ 2380787 h 3720987"/>
              <a:gd name="connsiteX0" fmla="*/ 646566 w 3036949"/>
              <a:gd name="connsiteY0" fmla="*/ 1750079 h 3090279"/>
              <a:gd name="connsiteX1" fmla="*/ 6791 w 3036949"/>
              <a:gd name="connsiteY1" fmla="*/ 759022 h 3090279"/>
              <a:gd name="connsiteX2" fmla="*/ 479390 w 3036949"/>
              <a:gd name="connsiteY2" fmla="*/ 234 h 3090279"/>
              <a:gd name="connsiteX3" fmla="*/ 2771923 w 3036949"/>
              <a:gd name="connsiteY3" fmla="*/ 833009 h 3090279"/>
              <a:gd name="connsiteX4" fmla="*/ 2977554 w 3036949"/>
              <a:gd name="connsiteY4" fmla="*/ 1749103 h 3090279"/>
              <a:gd name="connsiteX5" fmla="*/ 2675145 w 3036949"/>
              <a:gd name="connsiteY5" fmla="*/ 3030475 h 3090279"/>
              <a:gd name="connsiteX6" fmla="*/ 1127777 w 3036949"/>
              <a:gd name="connsiteY6" fmla="*/ 3004545 h 3090279"/>
              <a:gd name="connsiteX7" fmla="*/ 646566 w 3036949"/>
              <a:gd name="connsiteY7" fmla="*/ 1750079 h 3090279"/>
              <a:gd name="connsiteX0" fmla="*/ 646566 w 3036949"/>
              <a:gd name="connsiteY0" fmla="*/ 1969705 h 3309905"/>
              <a:gd name="connsiteX1" fmla="*/ 6791 w 3036949"/>
              <a:gd name="connsiteY1" fmla="*/ 978648 h 3309905"/>
              <a:gd name="connsiteX2" fmla="*/ 479390 w 3036949"/>
              <a:gd name="connsiteY2" fmla="*/ 219860 h 3309905"/>
              <a:gd name="connsiteX3" fmla="*/ 2771923 w 3036949"/>
              <a:gd name="connsiteY3" fmla="*/ 1052635 h 3309905"/>
              <a:gd name="connsiteX4" fmla="*/ 2977554 w 3036949"/>
              <a:gd name="connsiteY4" fmla="*/ 1968729 h 3309905"/>
              <a:gd name="connsiteX5" fmla="*/ 2675145 w 3036949"/>
              <a:gd name="connsiteY5" fmla="*/ 3250101 h 3309905"/>
              <a:gd name="connsiteX6" fmla="*/ 1127777 w 3036949"/>
              <a:gd name="connsiteY6" fmla="*/ 3224171 h 3309905"/>
              <a:gd name="connsiteX7" fmla="*/ 646566 w 3036949"/>
              <a:gd name="connsiteY7" fmla="*/ 1969705 h 3309905"/>
              <a:gd name="connsiteX0" fmla="*/ 646566 w 3036949"/>
              <a:gd name="connsiteY0" fmla="*/ 1750079 h 3090279"/>
              <a:gd name="connsiteX1" fmla="*/ 6791 w 3036949"/>
              <a:gd name="connsiteY1" fmla="*/ 759022 h 3090279"/>
              <a:gd name="connsiteX2" fmla="*/ 479390 w 3036949"/>
              <a:gd name="connsiteY2" fmla="*/ 234 h 3090279"/>
              <a:gd name="connsiteX3" fmla="*/ 2771923 w 3036949"/>
              <a:gd name="connsiteY3" fmla="*/ 833009 h 3090279"/>
              <a:gd name="connsiteX4" fmla="*/ 2977554 w 3036949"/>
              <a:gd name="connsiteY4" fmla="*/ 1749103 h 3090279"/>
              <a:gd name="connsiteX5" fmla="*/ 2675145 w 3036949"/>
              <a:gd name="connsiteY5" fmla="*/ 3030475 h 3090279"/>
              <a:gd name="connsiteX6" fmla="*/ 1127777 w 3036949"/>
              <a:gd name="connsiteY6" fmla="*/ 3004545 h 3090279"/>
              <a:gd name="connsiteX7" fmla="*/ 646566 w 3036949"/>
              <a:gd name="connsiteY7" fmla="*/ 1750079 h 3090279"/>
              <a:gd name="connsiteX0" fmla="*/ 662836 w 3053219"/>
              <a:gd name="connsiteY0" fmla="*/ 1750095 h 3090295"/>
              <a:gd name="connsiteX1" fmla="*/ 23061 w 3053219"/>
              <a:gd name="connsiteY1" fmla="*/ 759038 h 3090295"/>
              <a:gd name="connsiteX2" fmla="*/ 495660 w 3053219"/>
              <a:gd name="connsiteY2" fmla="*/ 250 h 3090295"/>
              <a:gd name="connsiteX3" fmla="*/ 2788193 w 3053219"/>
              <a:gd name="connsiteY3" fmla="*/ 833025 h 3090295"/>
              <a:gd name="connsiteX4" fmla="*/ 2993824 w 3053219"/>
              <a:gd name="connsiteY4" fmla="*/ 1749119 h 3090295"/>
              <a:gd name="connsiteX5" fmla="*/ 2691415 w 3053219"/>
              <a:gd name="connsiteY5" fmla="*/ 3030491 h 3090295"/>
              <a:gd name="connsiteX6" fmla="*/ 1144047 w 3053219"/>
              <a:gd name="connsiteY6" fmla="*/ 3004561 h 3090295"/>
              <a:gd name="connsiteX7" fmla="*/ 662836 w 3053219"/>
              <a:gd name="connsiteY7" fmla="*/ 1750095 h 3090295"/>
              <a:gd name="connsiteX0" fmla="*/ 662836 w 3053219"/>
              <a:gd name="connsiteY0" fmla="*/ 1799637 h 3139837"/>
              <a:gd name="connsiteX1" fmla="*/ 23061 w 3053219"/>
              <a:gd name="connsiteY1" fmla="*/ 808580 h 3139837"/>
              <a:gd name="connsiteX2" fmla="*/ 495660 w 3053219"/>
              <a:gd name="connsiteY2" fmla="*/ 49792 h 3139837"/>
              <a:gd name="connsiteX3" fmla="*/ 2788193 w 3053219"/>
              <a:gd name="connsiteY3" fmla="*/ 882567 h 3139837"/>
              <a:gd name="connsiteX4" fmla="*/ 2993824 w 3053219"/>
              <a:gd name="connsiteY4" fmla="*/ 1798661 h 3139837"/>
              <a:gd name="connsiteX5" fmla="*/ 2691415 w 3053219"/>
              <a:gd name="connsiteY5" fmla="*/ 3080033 h 3139837"/>
              <a:gd name="connsiteX6" fmla="*/ 1144047 w 3053219"/>
              <a:gd name="connsiteY6" fmla="*/ 3054103 h 3139837"/>
              <a:gd name="connsiteX7" fmla="*/ 662836 w 3053219"/>
              <a:gd name="connsiteY7" fmla="*/ 1799637 h 3139837"/>
              <a:gd name="connsiteX0" fmla="*/ 662836 w 3009793"/>
              <a:gd name="connsiteY0" fmla="*/ 1806529 h 3146729"/>
              <a:gd name="connsiteX1" fmla="*/ 23061 w 3009793"/>
              <a:gd name="connsiteY1" fmla="*/ 815472 h 3146729"/>
              <a:gd name="connsiteX2" fmla="*/ 495660 w 3009793"/>
              <a:gd name="connsiteY2" fmla="*/ 56684 h 3146729"/>
              <a:gd name="connsiteX3" fmla="*/ 1317487 w 3009793"/>
              <a:gd name="connsiteY3" fmla="*/ 148274 h 3146729"/>
              <a:gd name="connsiteX4" fmla="*/ 2788193 w 3009793"/>
              <a:gd name="connsiteY4" fmla="*/ 889459 h 3146729"/>
              <a:gd name="connsiteX5" fmla="*/ 2993824 w 3009793"/>
              <a:gd name="connsiteY5" fmla="*/ 1805553 h 3146729"/>
              <a:gd name="connsiteX6" fmla="*/ 2691415 w 3009793"/>
              <a:gd name="connsiteY6" fmla="*/ 3086925 h 3146729"/>
              <a:gd name="connsiteX7" fmla="*/ 1144047 w 3009793"/>
              <a:gd name="connsiteY7" fmla="*/ 3060995 h 3146729"/>
              <a:gd name="connsiteX8" fmla="*/ 662836 w 3009793"/>
              <a:gd name="connsiteY8" fmla="*/ 1806529 h 3146729"/>
              <a:gd name="connsiteX0" fmla="*/ 662836 w 3010153"/>
              <a:gd name="connsiteY0" fmla="*/ 2182789 h 3522989"/>
              <a:gd name="connsiteX1" fmla="*/ 23061 w 3010153"/>
              <a:gd name="connsiteY1" fmla="*/ 1191732 h 3522989"/>
              <a:gd name="connsiteX2" fmla="*/ 495660 w 3010153"/>
              <a:gd name="connsiteY2" fmla="*/ 432944 h 3522989"/>
              <a:gd name="connsiteX3" fmla="*/ 1308261 w 3010153"/>
              <a:gd name="connsiteY3" fmla="*/ 31968 h 3522989"/>
              <a:gd name="connsiteX4" fmla="*/ 2788193 w 3010153"/>
              <a:gd name="connsiteY4" fmla="*/ 1265719 h 3522989"/>
              <a:gd name="connsiteX5" fmla="*/ 2993824 w 3010153"/>
              <a:gd name="connsiteY5" fmla="*/ 2181813 h 3522989"/>
              <a:gd name="connsiteX6" fmla="*/ 2691415 w 3010153"/>
              <a:gd name="connsiteY6" fmla="*/ 3463185 h 3522989"/>
              <a:gd name="connsiteX7" fmla="*/ 1144047 w 3010153"/>
              <a:gd name="connsiteY7" fmla="*/ 3437255 h 3522989"/>
              <a:gd name="connsiteX8" fmla="*/ 662836 w 3010153"/>
              <a:gd name="connsiteY8" fmla="*/ 2182789 h 3522989"/>
              <a:gd name="connsiteX0" fmla="*/ 662836 w 3010153"/>
              <a:gd name="connsiteY0" fmla="*/ 2150821 h 3491021"/>
              <a:gd name="connsiteX1" fmla="*/ 23061 w 3010153"/>
              <a:gd name="connsiteY1" fmla="*/ 1159764 h 3491021"/>
              <a:gd name="connsiteX2" fmla="*/ 495660 w 3010153"/>
              <a:gd name="connsiteY2" fmla="*/ 400976 h 3491021"/>
              <a:gd name="connsiteX3" fmla="*/ 1308261 w 3010153"/>
              <a:gd name="connsiteY3" fmla="*/ 0 h 3491021"/>
              <a:gd name="connsiteX4" fmla="*/ 2788193 w 3010153"/>
              <a:gd name="connsiteY4" fmla="*/ 1233751 h 3491021"/>
              <a:gd name="connsiteX5" fmla="*/ 2993824 w 3010153"/>
              <a:gd name="connsiteY5" fmla="*/ 2149845 h 3491021"/>
              <a:gd name="connsiteX6" fmla="*/ 2691415 w 3010153"/>
              <a:gd name="connsiteY6" fmla="*/ 3431217 h 3491021"/>
              <a:gd name="connsiteX7" fmla="*/ 1144047 w 3010153"/>
              <a:gd name="connsiteY7" fmla="*/ 3405287 h 3491021"/>
              <a:gd name="connsiteX8" fmla="*/ 662836 w 3010153"/>
              <a:gd name="connsiteY8" fmla="*/ 2150821 h 3491021"/>
              <a:gd name="connsiteX0" fmla="*/ 662836 w 3032095"/>
              <a:gd name="connsiteY0" fmla="*/ 2150821 h 3491021"/>
              <a:gd name="connsiteX1" fmla="*/ 23061 w 3032095"/>
              <a:gd name="connsiteY1" fmla="*/ 1159764 h 3491021"/>
              <a:gd name="connsiteX2" fmla="*/ 495660 w 3032095"/>
              <a:gd name="connsiteY2" fmla="*/ 400976 h 3491021"/>
              <a:gd name="connsiteX3" fmla="*/ 1308261 w 3032095"/>
              <a:gd name="connsiteY3" fmla="*/ 0 h 3491021"/>
              <a:gd name="connsiteX4" fmla="*/ 2206983 w 3032095"/>
              <a:gd name="connsiteY4" fmla="*/ 559714 h 3491021"/>
              <a:gd name="connsiteX5" fmla="*/ 2993824 w 3032095"/>
              <a:gd name="connsiteY5" fmla="*/ 2149845 h 3491021"/>
              <a:gd name="connsiteX6" fmla="*/ 2691415 w 3032095"/>
              <a:gd name="connsiteY6" fmla="*/ 3431217 h 3491021"/>
              <a:gd name="connsiteX7" fmla="*/ 1144047 w 3032095"/>
              <a:gd name="connsiteY7" fmla="*/ 3405287 h 3491021"/>
              <a:gd name="connsiteX8" fmla="*/ 662836 w 3032095"/>
              <a:gd name="connsiteY8" fmla="*/ 2150821 h 3491021"/>
              <a:gd name="connsiteX0" fmla="*/ 662836 w 3001635"/>
              <a:gd name="connsiteY0" fmla="*/ 2150821 h 3491021"/>
              <a:gd name="connsiteX1" fmla="*/ 23061 w 3001635"/>
              <a:gd name="connsiteY1" fmla="*/ 1159764 h 3491021"/>
              <a:gd name="connsiteX2" fmla="*/ 495660 w 3001635"/>
              <a:gd name="connsiteY2" fmla="*/ 400976 h 3491021"/>
              <a:gd name="connsiteX3" fmla="*/ 1308261 w 3001635"/>
              <a:gd name="connsiteY3" fmla="*/ 0 h 3491021"/>
              <a:gd name="connsiteX4" fmla="*/ 2206983 w 3001635"/>
              <a:gd name="connsiteY4" fmla="*/ 559714 h 3491021"/>
              <a:gd name="connsiteX5" fmla="*/ 2627517 w 3001635"/>
              <a:gd name="connsiteY5" fmla="*/ 1183885 h 3491021"/>
              <a:gd name="connsiteX6" fmla="*/ 2993824 w 3001635"/>
              <a:gd name="connsiteY6" fmla="*/ 2149845 h 3491021"/>
              <a:gd name="connsiteX7" fmla="*/ 2691415 w 3001635"/>
              <a:gd name="connsiteY7" fmla="*/ 3431217 h 3491021"/>
              <a:gd name="connsiteX8" fmla="*/ 1144047 w 3001635"/>
              <a:gd name="connsiteY8" fmla="*/ 3405287 h 3491021"/>
              <a:gd name="connsiteX9" fmla="*/ 662836 w 3001635"/>
              <a:gd name="connsiteY9" fmla="*/ 2150821 h 3491021"/>
              <a:gd name="connsiteX0" fmla="*/ 662836 w 3020923"/>
              <a:gd name="connsiteY0" fmla="*/ 2150821 h 3491021"/>
              <a:gd name="connsiteX1" fmla="*/ 23061 w 3020923"/>
              <a:gd name="connsiteY1" fmla="*/ 1159764 h 3491021"/>
              <a:gd name="connsiteX2" fmla="*/ 495660 w 3020923"/>
              <a:gd name="connsiteY2" fmla="*/ 400976 h 3491021"/>
              <a:gd name="connsiteX3" fmla="*/ 1308261 w 3020923"/>
              <a:gd name="connsiteY3" fmla="*/ 0 h 3491021"/>
              <a:gd name="connsiteX4" fmla="*/ 2206983 w 3020923"/>
              <a:gd name="connsiteY4" fmla="*/ 559714 h 3491021"/>
              <a:gd name="connsiteX5" fmla="*/ 2359975 w 3020923"/>
              <a:gd name="connsiteY5" fmla="*/ 1253016 h 3491021"/>
              <a:gd name="connsiteX6" fmla="*/ 2993824 w 3020923"/>
              <a:gd name="connsiteY6" fmla="*/ 2149845 h 3491021"/>
              <a:gd name="connsiteX7" fmla="*/ 2691415 w 3020923"/>
              <a:gd name="connsiteY7" fmla="*/ 3431217 h 3491021"/>
              <a:gd name="connsiteX8" fmla="*/ 1144047 w 3020923"/>
              <a:gd name="connsiteY8" fmla="*/ 3405287 h 3491021"/>
              <a:gd name="connsiteX9" fmla="*/ 662836 w 3020923"/>
              <a:gd name="connsiteY9" fmla="*/ 2150821 h 3491021"/>
              <a:gd name="connsiteX0" fmla="*/ 662836 w 3020923"/>
              <a:gd name="connsiteY0" fmla="*/ 2150821 h 3491021"/>
              <a:gd name="connsiteX1" fmla="*/ 23061 w 3020923"/>
              <a:gd name="connsiteY1" fmla="*/ 1159764 h 3491021"/>
              <a:gd name="connsiteX2" fmla="*/ 495660 w 3020923"/>
              <a:gd name="connsiteY2" fmla="*/ 400976 h 3491021"/>
              <a:gd name="connsiteX3" fmla="*/ 1308261 w 3020923"/>
              <a:gd name="connsiteY3" fmla="*/ 0 h 3491021"/>
              <a:gd name="connsiteX4" fmla="*/ 2206983 w 3020923"/>
              <a:gd name="connsiteY4" fmla="*/ 559714 h 3491021"/>
              <a:gd name="connsiteX5" fmla="*/ 2359975 w 3020923"/>
              <a:gd name="connsiteY5" fmla="*/ 1253016 h 3491021"/>
              <a:gd name="connsiteX6" fmla="*/ 2993824 w 3020923"/>
              <a:gd name="connsiteY6" fmla="*/ 2149845 h 3491021"/>
              <a:gd name="connsiteX7" fmla="*/ 2691415 w 3020923"/>
              <a:gd name="connsiteY7" fmla="*/ 3431217 h 3491021"/>
              <a:gd name="connsiteX8" fmla="*/ 1144047 w 3020923"/>
              <a:gd name="connsiteY8" fmla="*/ 3405287 h 3491021"/>
              <a:gd name="connsiteX9" fmla="*/ 662836 w 3020923"/>
              <a:gd name="connsiteY9" fmla="*/ 2150821 h 3491021"/>
              <a:gd name="connsiteX0" fmla="*/ 662836 w 3020923"/>
              <a:gd name="connsiteY0" fmla="*/ 2150821 h 3491021"/>
              <a:gd name="connsiteX1" fmla="*/ 23061 w 3020923"/>
              <a:gd name="connsiteY1" fmla="*/ 1159764 h 3491021"/>
              <a:gd name="connsiteX2" fmla="*/ 495660 w 3020923"/>
              <a:gd name="connsiteY2" fmla="*/ 400976 h 3491021"/>
              <a:gd name="connsiteX3" fmla="*/ 1308261 w 3020923"/>
              <a:gd name="connsiteY3" fmla="*/ 0 h 3491021"/>
              <a:gd name="connsiteX4" fmla="*/ 2206983 w 3020923"/>
              <a:gd name="connsiteY4" fmla="*/ 559714 h 3491021"/>
              <a:gd name="connsiteX5" fmla="*/ 2359975 w 3020923"/>
              <a:gd name="connsiteY5" fmla="*/ 1253016 h 3491021"/>
              <a:gd name="connsiteX6" fmla="*/ 2993824 w 3020923"/>
              <a:gd name="connsiteY6" fmla="*/ 2149845 h 3491021"/>
              <a:gd name="connsiteX7" fmla="*/ 2691415 w 3020923"/>
              <a:gd name="connsiteY7" fmla="*/ 3431217 h 3491021"/>
              <a:gd name="connsiteX8" fmla="*/ 1144047 w 3020923"/>
              <a:gd name="connsiteY8" fmla="*/ 3405287 h 3491021"/>
              <a:gd name="connsiteX9" fmla="*/ 662836 w 3020923"/>
              <a:gd name="connsiteY9" fmla="*/ 2150821 h 3491021"/>
              <a:gd name="connsiteX0" fmla="*/ 662836 w 3020923"/>
              <a:gd name="connsiteY0" fmla="*/ 2150821 h 3491021"/>
              <a:gd name="connsiteX1" fmla="*/ 23061 w 3020923"/>
              <a:gd name="connsiteY1" fmla="*/ 1159764 h 3491021"/>
              <a:gd name="connsiteX2" fmla="*/ 495660 w 3020923"/>
              <a:gd name="connsiteY2" fmla="*/ 400976 h 3491021"/>
              <a:gd name="connsiteX3" fmla="*/ 1308261 w 3020923"/>
              <a:gd name="connsiteY3" fmla="*/ 0 h 3491021"/>
              <a:gd name="connsiteX4" fmla="*/ 2206983 w 3020923"/>
              <a:gd name="connsiteY4" fmla="*/ 559714 h 3491021"/>
              <a:gd name="connsiteX5" fmla="*/ 2359975 w 3020923"/>
              <a:gd name="connsiteY5" fmla="*/ 1253016 h 3491021"/>
              <a:gd name="connsiteX6" fmla="*/ 2993824 w 3020923"/>
              <a:gd name="connsiteY6" fmla="*/ 2149845 h 3491021"/>
              <a:gd name="connsiteX7" fmla="*/ 2691415 w 3020923"/>
              <a:gd name="connsiteY7" fmla="*/ 3431217 h 3491021"/>
              <a:gd name="connsiteX8" fmla="*/ 1144047 w 3020923"/>
              <a:gd name="connsiteY8" fmla="*/ 3405287 h 3491021"/>
              <a:gd name="connsiteX9" fmla="*/ 662836 w 3020923"/>
              <a:gd name="connsiteY9" fmla="*/ 2150821 h 3491021"/>
              <a:gd name="connsiteX0" fmla="*/ 662836 w 3020923"/>
              <a:gd name="connsiteY0" fmla="*/ 2150821 h 3491021"/>
              <a:gd name="connsiteX1" fmla="*/ 23061 w 3020923"/>
              <a:gd name="connsiteY1" fmla="*/ 1159764 h 3491021"/>
              <a:gd name="connsiteX2" fmla="*/ 495660 w 3020923"/>
              <a:gd name="connsiteY2" fmla="*/ 400976 h 3491021"/>
              <a:gd name="connsiteX3" fmla="*/ 1308261 w 3020923"/>
              <a:gd name="connsiteY3" fmla="*/ 0 h 3491021"/>
              <a:gd name="connsiteX4" fmla="*/ 2206983 w 3020923"/>
              <a:gd name="connsiteY4" fmla="*/ 559714 h 3491021"/>
              <a:gd name="connsiteX5" fmla="*/ 2359975 w 3020923"/>
              <a:gd name="connsiteY5" fmla="*/ 1253016 h 3491021"/>
              <a:gd name="connsiteX6" fmla="*/ 2993824 w 3020923"/>
              <a:gd name="connsiteY6" fmla="*/ 2149845 h 3491021"/>
              <a:gd name="connsiteX7" fmla="*/ 2691415 w 3020923"/>
              <a:gd name="connsiteY7" fmla="*/ 3431217 h 3491021"/>
              <a:gd name="connsiteX8" fmla="*/ 1144047 w 3020923"/>
              <a:gd name="connsiteY8" fmla="*/ 3405287 h 3491021"/>
              <a:gd name="connsiteX9" fmla="*/ 662836 w 3020923"/>
              <a:gd name="connsiteY9" fmla="*/ 2150821 h 3491021"/>
              <a:gd name="connsiteX0" fmla="*/ 662836 w 3024285"/>
              <a:gd name="connsiteY0" fmla="*/ 2150821 h 3491021"/>
              <a:gd name="connsiteX1" fmla="*/ 23061 w 3024285"/>
              <a:gd name="connsiteY1" fmla="*/ 1159764 h 3491021"/>
              <a:gd name="connsiteX2" fmla="*/ 495660 w 3024285"/>
              <a:gd name="connsiteY2" fmla="*/ 400976 h 3491021"/>
              <a:gd name="connsiteX3" fmla="*/ 1308261 w 3024285"/>
              <a:gd name="connsiteY3" fmla="*/ 0 h 3491021"/>
              <a:gd name="connsiteX4" fmla="*/ 2206983 w 3024285"/>
              <a:gd name="connsiteY4" fmla="*/ 559714 h 3491021"/>
              <a:gd name="connsiteX5" fmla="*/ 2313848 w 3024285"/>
              <a:gd name="connsiteY5" fmla="*/ 1209809 h 3491021"/>
              <a:gd name="connsiteX6" fmla="*/ 2993824 w 3024285"/>
              <a:gd name="connsiteY6" fmla="*/ 2149845 h 3491021"/>
              <a:gd name="connsiteX7" fmla="*/ 2691415 w 3024285"/>
              <a:gd name="connsiteY7" fmla="*/ 3431217 h 3491021"/>
              <a:gd name="connsiteX8" fmla="*/ 1144047 w 3024285"/>
              <a:gd name="connsiteY8" fmla="*/ 3405287 h 3491021"/>
              <a:gd name="connsiteX9" fmla="*/ 662836 w 3024285"/>
              <a:gd name="connsiteY9" fmla="*/ 2150821 h 3491021"/>
              <a:gd name="connsiteX0" fmla="*/ 662836 w 3008227"/>
              <a:gd name="connsiteY0" fmla="*/ 2150821 h 3491021"/>
              <a:gd name="connsiteX1" fmla="*/ 23061 w 3008227"/>
              <a:gd name="connsiteY1" fmla="*/ 1159764 h 3491021"/>
              <a:gd name="connsiteX2" fmla="*/ 495660 w 3008227"/>
              <a:gd name="connsiteY2" fmla="*/ 400976 h 3491021"/>
              <a:gd name="connsiteX3" fmla="*/ 1308261 w 3008227"/>
              <a:gd name="connsiteY3" fmla="*/ 0 h 3491021"/>
              <a:gd name="connsiteX4" fmla="*/ 2206983 w 3008227"/>
              <a:gd name="connsiteY4" fmla="*/ 559714 h 3491021"/>
              <a:gd name="connsiteX5" fmla="*/ 2313848 w 3008227"/>
              <a:gd name="connsiteY5" fmla="*/ 1209809 h 3491021"/>
              <a:gd name="connsiteX6" fmla="*/ 2535260 w 3008227"/>
              <a:gd name="connsiteY6" fmla="*/ 1477697 h 3491021"/>
              <a:gd name="connsiteX7" fmla="*/ 2993824 w 3008227"/>
              <a:gd name="connsiteY7" fmla="*/ 2149845 h 3491021"/>
              <a:gd name="connsiteX8" fmla="*/ 2691415 w 3008227"/>
              <a:gd name="connsiteY8" fmla="*/ 3431217 h 3491021"/>
              <a:gd name="connsiteX9" fmla="*/ 1144047 w 3008227"/>
              <a:gd name="connsiteY9" fmla="*/ 3405287 h 3491021"/>
              <a:gd name="connsiteX10" fmla="*/ 662836 w 3008227"/>
              <a:gd name="connsiteY10" fmla="*/ 2150821 h 3491021"/>
              <a:gd name="connsiteX0" fmla="*/ 662836 w 3115786"/>
              <a:gd name="connsiteY0" fmla="*/ 2150821 h 3491021"/>
              <a:gd name="connsiteX1" fmla="*/ 23061 w 3115786"/>
              <a:gd name="connsiteY1" fmla="*/ 1159764 h 3491021"/>
              <a:gd name="connsiteX2" fmla="*/ 495660 w 3115786"/>
              <a:gd name="connsiteY2" fmla="*/ 400976 h 3491021"/>
              <a:gd name="connsiteX3" fmla="*/ 1308261 w 3115786"/>
              <a:gd name="connsiteY3" fmla="*/ 0 h 3491021"/>
              <a:gd name="connsiteX4" fmla="*/ 2206983 w 3115786"/>
              <a:gd name="connsiteY4" fmla="*/ 559714 h 3491021"/>
              <a:gd name="connsiteX5" fmla="*/ 2313848 w 3115786"/>
              <a:gd name="connsiteY5" fmla="*/ 1209809 h 3491021"/>
              <a:gd name="connsiteX6" fmla="*/ 3070344 w 3115786"/>
              <a:gd name="connsiteY6" fmla="*/ 1339432 h 3491021"/>
              <a:gd name="connsiteX7" fmla="*/ 2993824 w 3115786"/>
              <a:gd name="connsiteY7" fmla="*/ 2149845 h 3491021"/>
              <a:gd name="connsiteX8" fmla="*/ 2691415 w 3115786"/>
              <a:gd name="connsiteY8" fmla="*/ 3431217 h 3491021"/>
              <a:gd name="connsiteX9" fmla="*/ 1144047 w 3115786"/>
              <a:gd name="connsiteY9" fmla="*/ 3405287 h 3491021"/>
              <a:gd name="connsiteX10" fmla="*/ 662836 w 3115786"/>
              <a:gd name="connsiteY10" fmla="*/ 2150821 h 3491021"/>
              <a:gd name="connsiteX0" fmla="*/ 662836 w 3083700"/>
              <a:gd name="connsiteY0" fmla="*/ 2150821 h 3491021"/>
              <a:gd name="connsiteX1" fmla="*/ 23061 w 3083700"/>
              <a:gd name="connsiteY1" fmla="*/ 1159764 h 3491021"/>
              <a:gd name="connsiteX2" fmla="*/ 495660 w 3083700"/>
              <a:gd name="connsiteY2" fmla="*/ 400976 h 3491021"/>
              <a:gd name="connsiteX3" fmla="*/ 1308261 w 3083700"/>
              <a:gd name="connsiteY3" fmla="*/ 0 h 3491021"/>
              <a:gd name="connsiteX4" fmla="*/ 2206983 w 3083700"/>
              <a:gd name="connsiteY4" fmla="*/ 559714 h 3491021"/>
              <a:gd name="connsiteX5" fmla="*/ 2313848 w 3083700"/>
              <a:gd name="connsiteY5" fmla="*/ 1209809 h 3491021"/>
              <a:gd name="connsiteX6" fmla="*/ 3070344 w 3083700"/>
              <a:gd name="connsiteY6" fmla="*/ 1339432 h 3491021"/>
              <a:gd name="connsiteX7" fmla="*/ 2477192 w 3083700"/>
              <a:gd name="connsiteY7" fmla="*/ 1916524 h 3491021"/>
              <a:gd name="connsiteX8" fmla="*/ 2691415 w 3083700"/>
              <a:gd name="connsiteY8" fmla="*/ 3431217 h 3491021"/>
              <a:gd name="connsiteX9" fmla="*/ 1144047 w 3083700"/>
              <a:gd name="connsiteY9" fmla="*/ 3405287 h 3491021"/>
              <a:gd name="connsiteX10" fmla="*/ 662836 w 3083700"/>
              <a:gd name="connsiteY10" fmla="*/ 2150821 h 3491021"/>
              <a:gd name="connsiteX0" fmla="*/ 662836 w 3084094"/>
              <a:gd name="connsiteY0" fmla="*/ 2150821 h 3562605"/>
              <a:gd name="connsiteX1" fmla="*/ 23061 w 3084094"/>
              <a:gd name="connsiteY1" fmla="*/ 1159764 h 3562605"/>
              <a:gd name="connsiteX2" fmla="*/ 495660 w 3084094"/>
              <a:gd name="connsiteY2" fmla="*/ 400976 h 3562605"/>
              <a:gd name="connsiteX3" fmla="*/ 1308261 w 3084094"/>
              <a:gd name="connsiteY3" fmla="*/ 0 h 3562605"/>
              <a:gd name="connsiteX4" fmla="*/ 2206983 w 3084094"/>
              <a:gd name="connsiteY4" fmla="*/ 559714 h 3562605"/>
              <a:gd name="connsiteX5" fmla="*/ 2313848 w 3084094"/>
              <a:gd name="connsiteY5" fmla="*/ 1209809 h 3562605"/>
              <a:gd name="connsiteX6" fmla="*/ 3070344 w 3084094"/>
              <a:gd name="connsiteY6" fmla="*/ 1339432 h 3562605"/>
              <a:gd name="connsiteX7" fmla="*/ 2477192 w 3084094"/>
              <a:gd name="connsiteY7" fmla="*/ 1916524 h 3562605"/>
              <a:gd name="connsiteX8" fmla="*/ 2562939 w 3084094"/>
              <a:gd name="connsiteY8" fmla="*/ 2376412 h 3562605"/>
              <a:gd name="connsiteX9" fmla="*/ 2691415 w 3084094"/>
              <a:gd name="connsiteY9" fmla="*/ 3431217 h 3562605"/>
              <a:gd name="connsiteX10" fmla="*/ 1144047 w 3084094"/>
              <a:gd name="connsiteY10" fmla="*/ 3405287 h 3562605"/>
              <a:gd name="connsiteX11" fmla="*/ 662836 w 3084094"/>
              <a:gd name="connsiteY11" fmla="*/ 2150821 h 3562605"/>
              <a:gd name="connsiteX0" fmla="*/ 662836 w 3084830"/>
              <a:gd name="connsiteY0" fmla="*/ 2150821 h 3562605"/>
              <a:gd name="connsiteX1" fmla="*/ 23061 w 3084830"/>
              <a:gd name="connsiteY1" fmla="*/ 1159764 h 3562605"/>
              <a:gd name="connsiteX2" fmla="*/ 495660 w 3084830"/>
              <a:gd name="connsiteY2" fmla="*/ 400976 h 3562605"/>
              <a:gd name="connsiteX3" fmla="*/ 1308261 w 3084830"/>
              <a:gd name="connsiteY3" fmla="*/ 0 h 3562605"/>
              <a:gd name="connsiteX4" fmla="*/ 2206983 w 3084830"/>
              <a:gd name="connsiteY4" fmla="*/ 559714 h 3562605"/>
              <a:gd name="connsiteX5" fmla="*/ 2313848 w 3084830"/>
              <a:gd name="connsiteY5" fmla="*/ 1209809 h 3562605"/>
              <a:gd name="connsiteX6" fmla="*/ 3070344 w 3084830"/>
              <a:gd name="connsiteY6" fmla="*/ 1339432 h 3562605"/>
              <a:gd name="connsiteX7" fmla="*/ 2477192 w 3084830"/>
              <a:gd name="connsiteY7" fmla="*/ 1916524 h 3562605"/>
              <a:gd name="connsiteX8" fmla="*/ 2341526 w 3084830"/>
              <a:gd name="connsiteY8" fmla="*/ 2125809 h 3562605"/>
              <a:gd name="connsiteX9" fmla="*/ 2691415 w 3084830"/>
              <a:gd name="connsiteY9" fmla="*/ 3431217 h 3562605"/>
              <a:gd name="connsiteX10" fmla="*/ 1144047 w 3084830"/>
              <a:gd name="connsiteY10" fmla="*/ 3405287 h 3562605"/>
              <a:gd name="connsiteX11" fmla="*/ 662836 w 3084830"/>
              <a:gd name="connsiteY11" fmla="*/ 2150821 h 3562605"/>
              <a:gd name="connsiteX0" fmla="*/ 662836 w 3084831"/>
              <a:gd name="connsiteY0" fmla="*/ 2150821 h 3562605"/>
              <a:gd name="connsiteX1" fmla="*/ 23061 w 3084831"/>
              <a:gd name="connsiteY1" fmla="*/ 1159764 h 3562605"/>
              <a:gd name="connsiteX2" fmla="*/ 495660 w 3084831"/>
              <a:gd name="connsiteY2" fmla="*/ 400976 h 3562605"/>
              <a:gd name="connsiteX3" fmla="*/ 1308261 w 3084831"/>
              <a:gd name="connsiteY3" fmla="*/ 0 h 3562605"/>
              <a:gd name="connsiteX4" fmla="*/ 2206983 w 3084831"/>
              <a:gd name="connsiteY4" fmla="*/ 559714 h 3562605"/>
              <a:gd name="connsiteX5" fmla="*/ 2313848 w 3084831"/>
              <a:gd name="connsiteY5" fmla="*/ 1209809 h 3562605"/>
              <a:gd name="connsiteX6" fmla="*/ 3070344 w 3084831"/>
              <a:gd name="connsiteY6" fmla="*/ 1339432 h 3562605"/>
              <a:gd name="connsiteX7" fmla="*/ 2477192 w 3084831"/>
              <a:gd name="connsiteY7" fmla="*/ 1916524 h 3562605"/>
              <a:gd name="connsiteX8" fmla="*/ 2341526 w 3084831"/>
              <a:gd name="connsiteY8" fmla="*/ 2125809 h 3562605"/>
              <a:gd name="connsiteX9" fmla="*/ 2691415 w 3084831"/>
              <a:gd name="connsiteY9" fmla="*/ 3431217 h 3562605"/>
              <a:gd name="connsiteX10" fmla="*/ 1144047 w 3084831"/>
              <a:gd name="connsiteY10" fmla="*/ 3405287 h 3562605"/>
              <a:gd name="connsiteX11" fmla="*/ 662836 w 3084831"/>
              <a:gd name="connsiteY11" fmla="*/ 2150821 h 3562605"/>
              <a:gd name="connsiteX0" fmla="*/ 662836 w 3084831"/>
              <a:gd name="connsiteY0" fmla="*/ 2150821 h 3419467"/>
              <a:gd name="connsiteX1" fmla="*/ 23061 w 3084831"/>
              <a:gd name="connsiteY1" fmla="*/ 1159764 h 3419467"/>
              <a:gd name="connsiteX2" fmla="*/ 495660 w 3084831"/>
              <a:gd name="connsiteY2" fmla="*/ 400976 h 3419467"/>
              <a:gd name="connsiteX3" fmla="*/ 1308261 w 3084831"/>
              <a:gd name="connsiteY3" fmla="*/ 0 h 3419467"/>
              <a:gd name="connsiteX4" fmla="*/ 2206983 w 3084831"/>
              <a:gd name="connsiteY4" fmla="*/ 559714 h 3419467"/>
              <a:gd name="connsiteX5" fmla="*/ 2313848 w 3084831"/>
              <a:gd name="connsiteY5" fmla="*/ 1209809 h 3419467"/>
              <a:gd name="connsiteX6" fmla="*/ 3070344 w 3084831"/>
              <a:gd name="connsiteY6" fmla="*/ 1339432 h 3419467"/>
              <a:gd name="connsiteX7" fmla="*/ 2477192 w 3084831"/>
              <a:gd name="connsiteY7" fmla="*/ 1916524 h 3419467"/>
              <a:gd name="connsiteX8" fmla="*/ 2341526 w 3084831"/>
              <a:gd name="connsiteY8" fmla="*/ 2125809 h 3419467"/>
              <a:gd name="connsiteX9" fmla="*/ 2174783 w 3084831"/>
              <a:gd name="connsiteY9" fmla="*/ 2800387 h 3419467"/>
              <a:gd name="connsiteX10" fmla="*/ 1144047 w 3084831"/>
              <a:gd name="connsiteY10" fmla="*/ 3405287 h 3419467"/>
              <a:gd name="connsiteX11" fmla="*/ 662836 w 3084831"/>
              <a:gd name="connsiteY11" fmla="*/ 2150821 h 3419467"/>
              <a:gd name="connsiteX0" fmla="*/ 662836 w 3084831"/>
              <a:gd name="connsiteY0" fmla="*/ 2150821 h 3419467"/>
              <a:gd name="connsiteX1" fmla="*/ 23061 w 3084831"/>
              <a:gd name="connsiteY1" fmla="*/ 1159764 h 3419467"/>
              <a:gd name="connsiteX2" fmla="*/ 495660 w 3084831"/>
              <a:gd name="connsiteY2" fmla="*/ 400976 h 3419467"/>
              <a:gd name="connsiteX3" fmla="*/ 1308261 w 3084831"/>
              <a:gd name="connsiteY3" fmla="*/ 0 h 3419467"/>
              <a:gd name="connsiteX4" fmla="*/ 2206983 w 3084831"/>
              <a:gd name="connsiteY4" fmla="*/ 559714 h 3419467"/>
              <a:gd name="connsiteX5" fmla="*/ 2313848 w 3084831"/>
              <a:gd name="connsiteY5" fmla="*/ 1209809 h 3419467"/>
              <a:gd name="connsiteX6" fmla="*/ 3070344 w 3084831"/>
              <a:gd name="connsiteY6" fmla="*/ 1339432 h 3419467"/>
              <a:gd name="connsiteX7" fmla="*/ 2477192 w 3084831"/>
              <a:gd name="connsiteY7" fmla="*/ 1916524 h 3419467"/>
              <a:gd name="connsiteX8" fmla="*/ 2341526 w 3084831"/>
              <a:gd name="connsiteY8" fmla="*/ 2125809 h 3419467"/>
              <a:gd name="connsiteX9" fmla="*/ 2174783 w 3084831"/>
              <a:gd name="connsiteY9" fmla="*/ 2800387 h 3419467"/>
              <a:gd name="connsiteX10" fmla="*/ 1144047 w 3084831"/>
              <a:gd name="connsiteY10" fmla="*/ 3405287 h 3419467"/>
              <a:gd name="connsiteX11" fmla="*/ 662836 w 3084831"/>
              <a:gd name="connsiteY11" fmla="*/ 2150821 h 3419467"/>
              <a:gd name="connsiteX0" fmla="*/ 663724 w 3085719"/>
              <a:gd name="connsiteY0" fmla="*/ 2150821 h 3377309"/>
              <a:gd name="connsiteX1" fmla="*/ 23949 w 3085719"/>
              <a:gd name="connsiteY1" fmla="*/ 1159764 h 3377309"/>
              <a:gd name="connsiteX2" fmla="*/ 496548 w 3085719"/>
              <a:gd name="connsiteY2" fmla="*/ 400976 h 3377309"/>
              <a:gd name="connsiteX3" fmla="*/ 1309149 w 3085719"/>
              <a:gd name="connsiteY3" fmla="*/ 0 h 3377309"/>
              <a:gd name="connsiteX4" fmla="*/ 2207871 w 3085719"/>
              <a:gd name="connsiteY4" fmla="*/ 559714 h 3377309"/>
              <a:gd name="connsiteX5" fmla="*/ 2314736 w 3085719"/>
              <a:gd name="connsiteY5" fmla="*/ 1209809 h 3377309"/>
              <a:gd name="connsiteX6" fmla="*/ 3071232 w 3085719"/>
              <a:gd name="connsiteY6" fmla="*/ 1339432 h 3377309"/>
              <a:gd name="connsiteX7" fmla="*/ 2478080 w 3085719"/>
              <a:gd name="connsiteY7" fmla="*/ 1916524 h 3377309"/>
              <a:gd name="connsiteX8" fmla="*/ 2342414 w 3085719"/>
              <a:gd name="connsiteY8" fmla="*/ 2125809 h 3377309"/>
              <a:gd name="connsiteX9" fmla="*/ 2175671 w 3085719"/>
              <a:gd name="connsiteY9" fmla="*/ 2800387 h 3377309"/>
              <a:gd name="connsiteX10" fmla="*/ 1310996 w 3085719"/>
              <a:gd name="connsiteY10" fmla="*/ 3362079 h 3377309"/>
              <a:gd name="connsiteX11" fmla="*/ 663724 w 3085719"/>
              <a:gd name="connsiteY11" fmla="*/ 2150821 h 3377309"/>
              <a:gd name="connsiteX0" fmla="*/ 860051 w 3069858"/>
              <a:gd name="connsiteY0" fmla="*/ 2505123 h 3365898"/>
              <a:gd name="connsiteX1" fmla="*/ 8088 w 3069858"/>
              <a:gd name="connsiteY1" fmla="*/ 1159764 h 3365898"/>
              <a:gd name="connsiteX2" fmla="*/ 480687 w 3069858"/>
              <a:gd name="connsiteY2" fmla="*/ 400976 h 3365898"/>
              <a:gd name="connsiteX3" fmla="*/ 1293288 w 3069858"/>
              <a:gd name="connsiteY3" fmla="*/ 0 h 3365898"/>
              <a:gd name="connsiteX4" fmla="*/ 2192010 w 3069858"/>
              <a:gd name="connsiteY4" fmla="*/ 559714 h 3365898"/>
              <a:gd name="connsiteX5" fmla="*/ 2298875 w 3069858"/>
              <a:gd name="connsiteY5" fmla="*/ 1209809 h 3365898"/>
              <a:gd name="connsiteX6" fmla="*/ 3055371 w 3069858"/>
              <a:gd name="connsiteY6" fmla="*/ 1339432 h 3365898"/>
              <a:gd name="connsiteX7" fmla="*/ 2462219 w 3069858"/>
              <a:gd name="connsiteY7" fmla="*/ 1916524 h 3365898"/>
              <a:gd name="connsiteX8" fmla="*/ 2326553 w 3069858"/>
              <a:gd name="connsiteY8" fmla="*/ 2125809 h 3365898"/>
              <a:gd name="connsiteX9" fmla="*/ 2159810 w 3069858"/>
              <a:gd name="connsiteY9" fmla="*/ 2800387 h 3365898"/>
              <a:gd name="connsiteX10" fmla="*/ 1295135 w 3069858"/>
              <a:gd name="connsiteY10" fmla="*/ 3362079 h 3365898"/>
              <a:gd name="connsiteX11" fmla="*/ 860051 w 3069858"/>
              <a:gd name="connsiteY11" fmla="*/ 2505123 h 3365898"/>
              <a:gd name="connsiteX0" fmla="*/ 852176 w 3061983"/>
              <a:gd name="connsiteY0" fmla="*/ 2505123 h 3365898"/>
              <a:gd name="connsiteX1" fmla="*/ 418209 w 3061983"/>
              <a:gd name="connsiteY1" fmla="*/ 1918414 h 3365898"/>
              <a:gd name="connsiteX2" fmla="*/ 213 w 3061983"/>
              <a:gd name="connsiteY2" fmla="*/ 1159764 h 3365898"/>
              <a:gd name="connsiteX3" fmla="*/ 472812 w 3061983"/>
              <a:gd name="connsiteY3" fmla="*/ 400976 h 3365898"/>
              <a:gd name="connsiteX4" fmla="*/ 1285413 w 3061983"/>
              <a:gd name="connsiteY4" fmla="*/ 0 h 3365898"/>
              <a:gd name="connsiteX5" fmla="*/ 2184135 w 3061983"/>
              <a:gd name="connsiteY5" fmla="*/ 559714 h 3365898"/>
              <a:gd name="connsiteX6" fmla="*/ 2291000 w 3061983"/>
              <a:gd name="connsiteY6" fmla="*/ 1209809 h 3365898"/>
              <a:gd name="connsiteX7" fmla="*/ 3047496 w 3061983"/>
              <a:gd name="connsiteY7" fmla="*/ 1339432 h 3365898"/>
              <a:gd name="connsiteX8" fmla="*/ 2454344 w 3061983"/>
              <a:gd name="connsiteY8" fmla="*/ 1916524 h 3365898"/>
              <a:gd name="connsiteX9" fmla="*/ 2318678 w 3061983"/>
              <a:gd name="connsiteY9" fmla="*/ 2125809 h 3365898"/>
              <a:gd name="connsiteX10" fmla="*/ 2151935 w 3061983"/>
              <a:gd name="connsiteY10" fmla="*/ 2800387 h 3365898"/>
              <a:gd name="connsiteX11" fmla="*/ 1287260 w 3061983"/>
              <a:gd name="connsiteY11" fmla="*/ 3362079 h 3365898"/>
              <a:gd name="connsiteX12" fmla="*/ 852176 w 3061983"/>
              <a:gd name="connsiteY12" fmla="*/ 2505123 h 3365898"/>
              <a:gd name="connsiteX0" fmla="*/ 928665 w 3138472"/>
              <a:gd name="connsiteY0" fmla="*/ 2505123 h 3365898"/>
              <a:gd name="connsiteX1" fmla="*/ 88773 w 3138472"/>
              <a:gd name="connsiteY1" fmla="*/ 2048036 h 3365898"/>
              <a:gd name="connsiteX2" fmla="*/ 76702 w 3138472"/>
              <a:gd name="connsiteY2" fmla="*/ 1159764 h 3365898"/>
              <a:gd name="connsiteX3" fmla="*/ 549301 w 3138472"/>
              <a:gd name="connsiteY3" fmla="*/ 400976 h 3365898"/>
              <a:gd name="connsiteX4" fmla="*/ 1361902 w 3138472"/>
              <a:gd name="connsiteY4" fmla="*/ 0 h 3365898"/>
              <a:gd name="connsiteX5" fmla="*/ 2260624 w 3138472"/>
              <a:gd name="connsiteY5" fmla="*/ 559714 h 3365898"/>
              <a:gd name="connsiteX6" fmla="*/ 2367489 w 3138472"/>
              <a:gd name="connsiteY6" fmla="*/ 1209809 h 3365898"/>
              <a:gd name="connsiteX7" fmla="*/ 3123985 w 3138472"/>
              <a:gd name="connsiteY7" fmla="*/ 1339432 h 3365898"/>
              <a:gd name="connsiteX8" fmla="*/ 2530833 w 3138472"/>
              <a:gd name="connsiteY8" fmla="*/ 1916524 h 3365898"/>
              <a:gd name="connsiteX9" fmla="*/ 2395167 w 3138472"/>
              <a:gd name="connsiteY9" fmla="*/ 2125809 h 3365898"/>
              <a:gd name="connsiteX10" fmla="*/ 2228424 w 3138472"/>
              <a:gd name="connsiteY10" fmla="*/ 2800387 h 3365898"/>
              <a:gd name="connsiteX11" fmla="*/ 1363749 w 3138472"/>
              <a:gd name="connsiteY11" fmla="*/ 3362079 h 3365898"/>
              <a:gd name="connsiteX12" fmla="*/ 928665 w 3138472"/>
              <a:gd name="connsiteY12" fmla="*/ 2505123 h 3365898"/>
              <a:gd name="connsiteX0" fmla="*/ 891763 w 3138472"/>
              <a:gd name="connsiteY0" fmla="*/ 2487840 h 3366314"/>
              <a:gd name="connsiteX1" fmla="*/ 88773 w 3138472"/>
              <a:gd name="connsiteY1" fmla="*/ 2048036 h 3366314"/>
              <a:gd name="connsiteX2" fmla="*/ 76702 w 3138472"/>
              <a:gd name="connsiteY2" fmla="*/ 1159764 h 3366314"/>
              <a:gd name="connsiteX3" fmla="*/ 549301 w 3138472"/>
              <a:gd name="connsiteY3" fmla="*/ 400976 h 3366314"/>
              <a:gd name="connsiteX4" fmla="*/ 1361902 w 3138472"/>
              <a:gd name="connsiteY4" fmla="*/ 0 h 3366314"/>
              <a:gd name="connsiteX5" fmla="*/ 2260624 w 3138472"/>
              <a:gd name="connsiteY5" fmla="*/ 559714 h 3366314"/>
              <a:gd name="connsiteX6" fmla="*/ 2367489 w 3138472"/>
              <a:gd name="connsiteY6" fmla="*/ 1209809 h 3366314"/>
              <a:gd name="connsiteX7" fmla="*/ 3123985 w 3138472"/>
              <a:gd name="connsiteY7" fmla="*/ 1339432 h 3366314"/>
              <a:gd name="connsiteX8" fmla="*/ 2530833 w 3138472"/>
              <a:gd name="connsiteY8" fmla="*/ 1916524 h 3366314"/>
              <a:gd name="connsiteX9" fmla="*/ 2395167 w 3138472"/>
              <a:gd name="connsiteY9" fmla="*/ 2125809 h 3366314"/>
              <a:gd name="connsiteX10" fmla="*/ 2228424 w 3138472"/>
              <a:gd name="connsiteY10" fmla="*/ 2800387 h 3366314"/>
              <a:gd name="connsiteX11" fmla="*/ 1363749 w 3138472"/>
              <a:gd name="connsiteY11" fmla="*/ 3362079 h 3366314"/>
              <a:gd name="connsiteX12" fmla="*/ 891763 w 3138472"/>
              <a:gd name="connsiteY12" fmla="*/ 2487840 h 3366314"/>
              <a:gd name="connsiteX0" fmla="*/ 891763 w 3138472"/>
              <a:gd name="connsiteY0" fmla="*/ 2548331 h 3426805"/>
              <a:gd name="connsiteX1" fmla="*/ 88773 w 3138472"/>
              <a:gd name="connsiteY1" fmla="*/ 2108527 h 3426805"/>
              <a:gd name="connsiteX2" fmla="*/ 76702 w 3138472"/>
              <a:gd name="connsiteY2" fmla="*/ 1220255 h 3426805"/>
              <a:gd name="connsiteX3" fmla="*/ 549301 w 3138472"/>
              <a:gd name="connsiteY3" fmla="*/ 461467 h 3426805"/>
              <a:gd name="connsiteX4" fmla="*/ 1933887 w 3138472"/>
              <a:gd name="connsiteY4" fmla="*/ 0 h 3426805"/>
              <a:gd name="connsiteX5" fmla="*/ 2260624 w 3138472"/>
              <a:gd name="connsiteY5" fmla="*/ 620205 h 3426805"/>
              <a:gd name="connsiteX6" fmla="*/ 2367489 w 3138472"/>
              <a:gd name="connsiteY6" fmla="*/ 1270300 h 3426805"/>
              <a:gd name="connsiteX7" fmla="*/ 3123985 w 3138472"/>
              <a:gd name="connsiteY7" fmla="*/ 1399923 h 3426805"/>
              <a:gd name="connsiteX8" fmla="*/ 2530833 w 3138472"/>
              <a:gd name="connsiteY8" fmla="*/ 1977015 h 3426805"/>
              <a:gd name="connsiteX9" fmla="*/ 2395167 w 3138472"/>
              <a:gd name="connsiteY9" fmla="*/ 2186300 h 3426805"/>
              <a:gd name="connsiteX10" fmla="*/ 2228424 w 3138472"/>
              <a:gd name="connsiteY10" fmla="*/ 2860878 h 3426805"/>
              <a:gd name="connsiteX11" fmla="*/ 1363749 w 3138472"/>
              <a:gd name="connsiteY11" fmla="*/ 3422570 h 3426805"/>
              <a:gd name="connsiteX12" fmla="*/ 891763 w 3138472"/>
              <a:gd name="connsiteY12" fmla="*/ 2548331 h 3426805"/>
              <a:gd name="connsiteX0" fmla="*/ 891763 w 3138472"/>
              <a:gd name="connsiteY0" fmla="*/ 2087431 h 2965905"/>
              <a:gd name="connsiteX1" fmla="*/ 88773 w 3138472"/>
              <a:gd name="connsiteY1" fmla="*/ 1647627 h 2965905"/>
              <a:gd name="connsiteX2" fmla="*/ 76702 w 3138472"/>
              <a:gd name="connsiteY2" fmla="*/ 759355 h 2965905"/>
              <a:gd name="connsiteX3" fmla="*/ 549301 w 3138472"/>
              <a:gd name="connsiteY3" fmla="*/ 567 h 2965905"/>
              <a:gd name="connsiteX4" fmla="*/ 1205067 w 3138472"/>
              <a:gd name="connsiteY4" fmla="*/ 602005 h 2965905"/>
              <a:gd name="connsiteX5" fmla="*/ 2260624 w 3138472"/>
              <a:gd name="connsiteY5" fmla="*/ 159305 h 2965905"/>
              <a:gd name="connsiteX6" fmla="*/ 2367489 w 3138472"/>
              <a:gd name="connsiteY6" fmla="*/ 809400 h 2965905"/>
              <a:gd name="connsiteX7" fmla="*/ 3123985 w 3138472"/>
              <a:gd name="connsiteY7" fmla="*/ 939023 h 2965905"/>
              <a:gd name="connsiteX8" fmla="*/ 2530833 w 3138472"/>
              <a:gd name="connsiteY8" fmla="*/ 1516115 h 2965905"/>
              <a:gd name="connsiteX9" fmla="*/ 2395167 w 3138472"/>
              <a:gd name="connsiteY9" fmla="*/ 1725400 h 2965905"/>
              <a:gd name="connsiteX10" fmla="*/ 2228424 w 3138472"/>
              <a:gd name="connsiteY10" fmla="*/ 2399978 h 2965905"/>
              <a:gd name="connsiteX11" fmla="*/ 1363749 w 3138472"/>
              <a:gd name="connsiteY11" fmla="*/ 2961670 h 2965905"/>
              <a:gd name="connsiteX12" fmla="*/ 891763 w 3138472"/>
              <a:gd name="connsiteY12" fmla="*/ 2087431 h 2965905"/>
              <a:gd name="connsiteX0" fmla="*/ 917863 w 3164572"/>
              <a:gd name="connsiteY0" fmla="*/ 1929701 h 2808175"/>
              <a:gd name="connsiteX1" fmla="*/ 114873 w 3164572"/>
              <a:gd name="connsiteY1" fmla="*/ 1489897 h 2808175"/>
              <a:gd name="connsiteX2" fmla="*/ 102802 w 3164572"/>
              <a:gd name="connsiteY2" fmla="*/ 601625 h 2808175"/>
              <a:gd name="connsiteX3" fmla="*/ 999777 w 3164572"/>
              <a:gd name="connsiteY3" fmla="*/ 594647 h 2808175"/>
              <a:gd name="connsiteX4" fmla="*/ 1231167 w 3164572"/>
              <a:gd name="connsiteY4" fmla="*/ 444275 h 2808175"/>
              <a:gd name="connsiteX5" fmla="*/ 2286724 w 3164572"/>
              <a:gd name="connsiteY5" fmla="*/ 1575 h 2808175"/>
              <a:gd name="connsiteX6" fmla="*/ 2393589 w 3164572"/>
              <a:gd name="connsiteY6" fmla="*/ 651670 h 2808175"/>
              <a:gd name="connsiteX7" fmla="*/ 3150085 w 3164572"/>
              <a:gd name="connsiteY7" fmla="*/ 781293 h 2808175"/>
              <a:gd name="connsiteX8" fmla="*/ 2556933 w 3164572"/>
              <a:gd name="connsiteY8" fmla="*/ 1358385 h 2808175"/>
              <a:gd name="connsiteX9" fmla="*/ 2421267 w 3164572"/>
              <a:gd name="connsiteY9" fmla="*/ 1567670 h 2808175"/>
              <a:gd name="connsiteX10" fmla="*/ 2254524 w 3164572"/>
              <a:gd name="connsiteY10" fmla="*/ 2242248 h 2808175"/>
              <a:gd name="connsiteX11" fmla="*/ 1389849 w 3164572"/>
              <a:gd name="connsiteY11" fmla="*/ 2803940 h 2808175"/>
              <a:gd name="connsiteX12" fmla="*/ 917863 w 3164572"/>
              <a:gd name="connsiteY12" fmla="*/ 1929701 h 2808175"/>
              <a:gd name="connsiteX0" fmla="*/ 820632 w 3067341"/>
              <a:gd name="connsiteY0" fmla="*/ 1929701 h 2808175"/>
              <a:gd name="connsiteX1" fmla="*/ 17642 w 3067341"/>
              <a:gd name="connsiteY1" fmla="*/ 1489897 h 2808175"/>
              <a:gd name="connsiteX2" fmla="*/ 780518 w 3067341"/>
              <a:gd name="connsiteY2" fmla="*/ 834945 h 2808175"/>
              <a:gd name="connsiteX3" fmla="*/ 902546 w 3067341"/>
              <a:gd name="connsiteY3" fmla="*/ 594647 h 2808175"/>
              <a:gd name="connsiteX4" fmla="*/ 1133936 w 3067341"/>
              <a:gd name="connsiteY4" fmla="*/ 444275 h 2808175"/>
              <a:gd name="connsiteX5" fmla="*/ 2189493 w 3067341"/>
              <a:gd name="connsiteY5" fmla="*/ 1575 h 2808175"/>
              <a:gd name="connsiteX6" fmla="*/ 2296358 w 3067341"/>
              <a:gd name="connsiteY6" fmla="*/ 651670 h 2808175"/>
              <a:gd name="connsiteX7" fmla="*/ 3052854 w 3067341"/>
              <a:gd name="connsiteY7" fmla="*/ 781293 h 2808175"/>
              <a:gd name="connsiteX8" fmla="*/ 2459702 w 3067341"/>
              <a:gd name="connsiteY8" fmla="*/ 1358385 h 2808175"/>
              <a:gd name="connsiteX9" fmla="*/ 2324036 w 3067341"/>
              <a:gd name="connsiteY9" fmla="*/ 1567670 h 2808175"/>
              <a:gd name="connsiteX10" fmla="*/ 2157293 w 3067341"/>
              <a:gd name="connsiteY10" fmla="*/ 2242248 h 2808175"/>
              <a:gd name="connsiteX11" fmla="*/ 1292618 w 3067341"/>
              <a:gd name="connsiteY11" fmla="*/ 2803940 h 2808175"/>
              <a:gd name="connsiteX12" fmla="*/ 820632 w 3067341"/>
              <a:gd name="connsiteY12" fmla="*/ 1929701 h 2808175"/>
              <a:gd name="connsiteX0" fmla="*/ 818967 w 3065676"/>
              <a:gd name="connsiteY0" fmla="*/ 1929701 h 2808175"/>
              <a:gd name="connsiteX1" fmla="*/ 15977 w 3065676"/>
              <a:gd name="connsiteY1" fmla="*/ 1489897 h 2808175"/>
              <a:gd name="connsiteX2" fmla="*/ 778853 w 3065676"/>
              <a:gd name="connsiteY2" fmla="*/ 834945 h 2808175"/>
              <a:gd name="connsiteX3" fmla="*/ 900881 w 3065676"/>
              <a:gd name="connsiteY3" fmla="*/ 594647 h 2808175"/>
              <a:gd name="connsiteX4" fmla="*/ 1132271 w 3065676"/>
              <a:gd name="connsiteY4" fmla="*/ 444275 h 2808175"/>
              <a:gd name="connsiteX5" fmla="*/ 2187828 w 3065676"/>
              <a:gd name="connsiteY5" fmla="*/ 1575 h 2808175"/>
              <a:gd name="connsiteX6" fmla="*/ 2294693 w 3065676"/>
              <a:gd name="connsiteY6" fmla="*/ 651670 h 2808175"/>
              <a:gd name="connsiteX7" fmla="*/ 3051189 w 3065676"/>
              <a:gd name="connsiteY7" fmla="*/ 781293 h 2808175"/>
              <a:gd name="connsiteX8" fmla="*/ 2458037 w 3065676"/>
              <a:gd name="connsiteY8" fmla="*/ 1358385 h 2808175"/>
              <a:gd name="connsiteX9" fmla="*/ 2322371 w 3065676"/>
              <a:gd name="connsiteY9" fmla="*/ 1567670 h 2808175"/>
              <a:gd name="connsiteX10" fmla="*/ 2155628 w 3065676"/>
              <a:gd name="connsiteY10" fmla="*/ 2242248 h 2808175"/>
              <a:gd name="connsiteX11" fmla="*/ 1290953 w 3065676"/>
              <a:gd name="connsiteY11" fmla="*/ 2803940 h 2808175"/>
              <a:gd name="connsiteX12" fmla="*/ 818967 w 3065676"/>
              <a:gd name="connsiteY12" fmla="*/ 1929701 h 2808175"/>
              <a:gd name="connsiteX0" fmla="*/ 818967 w 3065676"/>
              <a:gd name="connsiteY0" fmla="*/ 1929701 h 2808175"/>
              <a:gd name="connsiteX1" fmla="*/ 15977 w 3065676"/>
              <a:gd name="connsiteY1" fmla="*/ 1489897 h 2808175"/>
              <a:gd name="connsiteX2" fmla="*/ 778853 w 3065676"/>
              <a:gd name="connsiteY2" fmla="*/ 834945 h 2808175"/>
              <a:gd name="connsiteX3" fmla="*/ 900881 w 3065676"/>
              <a:gd name="connsiteY3" fmla="*/ 594647 h 2808175"/>
              <a:gd name="connsiteX4" fmla="*/ 1132271 w 3065676"/>
              <a:gd name="connsiteY4" fmla="*/ 444275 h 2808175"/>
              <a:gd name="connsiteX5" fmla="*/ 2187828 w 3065676"/>
              <a:gd name="connsiteY5" fmla="*/ 1575 h 2808175"/>
              <a:gd name="connsiteX6" fmla="*/ 2294693 w 3065676"/>
              <a:gd name="connsiteY6" fmla="*/ 651670 h 2808175"/>
              <a:gd name="connsiteX7" fmla="*/ 3051189 w 3065676"/>
              <a:gd name="connsiteY7" fmla="*/ 781293 h 2808175"/>
              <a:gd name="connsiteX8" fmla="*/ 2458037 w 3065676"/>
              <a:gd name="connsiteY8" fmla="*/ 1358385 h 2808175"/>
              <a:gd name="connsiteX9" fmla="*/ 2322371 w 3065676"/>
              <a:gd name="connsiteY9" fmla="*/ 1567670 h 2808175"/>
              <a:gd name="connsiteX10" fmla="*/ 2155628 w 3065676"/>
              <a:gd name="connsiteY10" fmla="*/ 2242248 h 2808175"/>
              <a:gd name="connsiteX11" fmla="*/ 1290953 w 3065676"/>
              <a:gd name="connsiteY11" fmla="*/ 2803940 h 2808175"/>
              <a:gd name="connsiteX12" fmla="*/ 818967 w 3065676"/>
              <a:gd name="connsiteY12" fmla="*/ 1929701 h 2808175"/>
              <a:gd name="connsiteX0" fmla="*/ 818967 w 3065676"/>
              <a:gd name="connsiteY0" fmla="*/ 1929701 h 2808175"/>
              <a:gd name="connsiteX1" fmla="*/ 15977 w 3065676"/>
              <a:gd name="connsiteY1" fmla="*/ 1489897 h 2808175"/>
              <a:gd name="connsiteX2" fmla="*/ 778853 w 3065676"/>
              <a:gd name="connsiteY2" fmla="*/ 834945 h 2808175"/>
              <a:gd name="connsiteX3" fmla="*/ 900881 w 3065676"/>
              <a:gd name="connsiteY3" fmla="*/ 594647 h 2808175"/>
              <a:gd name="connsiteX4" fmla="*/ 1132271 w 3065676"/>
              <a:gd name="connsiteY4" fmla="*/ 444275 h 2808175"/>
              <a:gd name="connsiteX5" fmla="*/ 2187828 w 3065676"/>
              <a:gd name="connsiteY5" fmla="*/ 1575 h 2808175"/>
              <a:gd name="connsiteX6" fmla="*/ 2294693 w 3065676"/>
              <a:gd name="connsiteY6" fmla="*/ 651670 h 2808175"/>
              <a:gd name="connsiteX7" fmla="*/ 3051189 w 3065676"/>
              <a:gd name="connsiteY7" fmla="*/ 781293 h 2808175"/>
              <a:gd name="connsiteX8" fmla="*/ 2458037 w 3065676"/>
              <a:gd name="connsiteY8" fmla="*/ 1358385 h 2808175"/>
              <a:gd name="connsiteX9" fmla="*/ 2322371 w 3065676"/>
              <a:gd name="connsiteY9" fmla="*/ 1567670 h 2808175"/>
              <a:gd name="connsiteX10" fmla="*/ 2155628 w 3065676"/>
              <a:gd name="connsiteY10" fmla="*/ 2242248 h 2808175"/>
              <a:gd name="connsiteX11" fmla="*/ 1290953 w 3065676"/>
              <a:gd name="connsiteY11" fmla="*/ 2803940 h 2808175"/>
              <a:gd name="connsiteX12" fmla="*/ 818967 w 3065676"/>
              <a:gd name="connsiteY12" fmla="*/ 1929701 h 2808175"/>
              <a:gd name="connsiteX0" fmla="*/ 818967 w 3065676"/>
              <a:gd name="connsiteY0" fmla="*/ 1929701 h 2808175"/>
              <a:gd name="connsiteX1" fmla="*/ 15977 w 3065676"/>
              <a:gd name="connsiteY1" fmla="*/ 1489897 h 2808175"/>
              <a:gd name="connsiteX2" fmla="*/ 778853 w 3065676"/>
              <a:gd name="connsiteY2" fmla="*/ 834945 h 2808175"/>
              <a:gd name="connsiteX3" fmla="*/ 900881 w 3065676"/>
              <a:gd name="connsiteY3" fmla="*/ 594647 h 2808175"/>
              <a:gd name="connsiteX4" fmla="*/ 1132271 w 3065676"/>
              <a:gd name="connsiteY4" fmla="*/ 444275 h 2808175"/>
              <a:gd name="connsiteX5" fmla="*/ 2187828 w 3065676"/>
              <a:gd name="connsiteY5" fmla="*/ 1575 h 2808175"/>
              <a:gd name="connsiteX6" fmla="*/ 2294693 w 3065676"/>
              <a:gd name="connsiteY6" fmla="*/ 651670 h 2808175"/>
              <a:gd name="connsiteX7" fmla="*/ 3051189 w 3065676"/>
              <a:gd name="connsiteY7" fmla="*/ 781293 h 2808175"/>
              <a:gd name="connsiteX8" fmla="*/ 2458037 w 3065676"/>
              <a:gd name="connsiteY8" fmla="*/ 1358385 h 2808175"/>
              <a:gd name="connsiteX9" fmla="*/ 2322371 w 3065676"/>
              <a:gd name="connsiteY9" fmla="*/ 1567670 h 2808175"/>
              <a:gd name="connsiteX10" fmla="*/ 2155628 w 3065676"/>
              <a:gd name="connsiteY10" fmla="*/ 2242248 h 2808175"/>
              <a:gd name="connsiteX11" fmla="*/ 1290953 w 3065676"/>
              <a:gd name="connsiteY11" fmla="*/ 2803940 h 2808175"/>
              <a:gd name="connsiteX12" fmla="*/ 818967 w 3065676"/>
              <a:gd name="connsiteY12" fmla="*/ 1929701 h 2808175"/>
              <a:gd name="connsiteX0" fmla="*/ 818967 w 3065676"/>
              <a:gd name="connsiteY0" fmla="*/ 1930373 h 2808847"/>
              <a:gd name="connsiteX1" fmla="*/ 15977 w 3065676"/>
              <a:gd name="connsiteY1" fmla="*/ 1490569 h 2808847"/>
              <a:gd name="connsiteX2" fmla="*/ 778853 w 3065676"/>
              <a:gd name="connsiteY2" fmla="*/ 835617 h 2808847"/>
              <a:gd name="connsiteX3" fmla="*/ 900881 w 3065676"/>
              <a:gd name="connsiteY3" fmla="*/ 595319 h 2808847"/>
              <a:gd name="connsiteX4" fmla="*/ 1132271 w 3065676"/>
              <a:gd name="connsiteY4" fmla="*/ 444947 h 2808847"/>
              <a:gd name="connsiteX5" fmla="*/ 2187828 w 3065676"/>
              <a:gd name="connsiteY5" fmla="*/ 2247 h 2808847"/>
              <a:gd name="connsiteX6" fmla="*/ 2294693 w 3065676"/>
              <a:gd name="connsiteY6" fmla="*/ 652342 h 2808847"/>
              <a:gd name="connsiteX7" fmla="*/ 3051189 w 3065676"/>
              <a:gd name="connsiteY7" fmla="*/ 781965 h 2808847"/>
              <a:gd name="connsiteX8" fmla="*/ 2458037 w 3065676"/>
              <a:gd name="connsiteY8" fmla="*/ 1359057 h 2808847"/>
              <a:gd name="connsiteX9" fmla="*/ 2322371 w 3065676"/>
              <a:gd name="connsiteY9" fmla="*/ 1568342 h 2808847"/>
              <a:gd name="connsiteX10" fmla="*/ 2155628 w 3065676"/>
              <a:gd name="connsiteY10" fmla="*/ 2242920 h 2808847"/>
              <a:gd name="connsiteX11" fmla="*/ 1290953 w 3065676"/>
              <a:gd name="connsiteY11" fmla="*/ 2804612 h 2808847"/>
              <a:gd name="connsiteX12" fmla="*/ 818967 w 3065676"/>
              <a:gd name="connsiteY12" fmla="*/ 1930373 h 2808847"/>
              <a:gd name="connsiteX0" fmla="*/ 818967 w 3065676"/>
              <a:gd name="connsiteY0" fmla="*/ 2533924 h 3412398"/>
              <a:gd name="connsiteX1" fmla="*/ 15977 w 3065676"/>
              <a:gd name="connsiteY1" fmla="*/ 2094120 h 3412398"/>
              <a:gd name="connsiteX2" fmla="*/ 778853 w 3065676"/>
              <a:gd name="connsiteY2" fmla="*/ 1439168 h 3412398"/>
              <a:gd name="connsiteX3" fmla="*/ 900881 w 3065676"/>
              <a:gd name="connsiteY3" fmla="*/ 1198870 h 3412398"/>
              <a:gd name="connsiteX4" fmla="*/ 1132271 w 3065676"/>
              <a:gd name="connsiteY4" fmla="*/ 1048498 h 3412398"/>
              <a:gd name="connsiteX5" fmla="*/ 1846482 w 3065676"/>
              <a:gd name="connsiteY5" fmla="*/ 892 h 3412398"/>
              <a:gd name="connsiteX6" fmla="*/ 2294693 w 3065676"/>
              <a:gd name="connsiteY6" fmla="*/ 1255893 h 3412398"/>
              <a:gd name="connsiteX7" fmla="*/ 3051189 w 3065676"/>
              <a:gd name="connsiteY7" fmla="*/ 1385516 h 3412398"/>
              <a:gd name="connsiteX8" fmla="*/ 2458037 w 3065676"/>
              <a:gd name="connsiteY8" fmla="*/ 1962608 h 3412398"/>
              <a:gd name="connsiteX9" fmla="*/ 2322371 w 3065676"/>
              <a:gd name="connsiteY9" fmla="*/ 2171893 h 3412398"/>
              <a:gd name="connsiteX10" fmla="*/ 2155628 w 3065676"/>
              <a:gd name="connsiteY10" fmla="*/ 2846471 h 3412398"/>
              <a:gd name="connsiteX11" fmla="*/ 1290953 w 3065676"/>
              <a:gd name="connsiteY11" fmla="*/ 3408163 h 3412398"/>
              <a:gd name="connsiteX12" fmla="*/ 818967 w 3065676"/>
              <a:gd name="connsiteY12" fmla="*/ 2533924 h 3412398"/>
              <a:gd name="connsiteX0" fmla="*/ 818967 w 3065676"/>
              <a:gd name="connsiteY0" fmla="*/ 2548770 h 3427244"/>
              <a:gd name="connsiteX1" fmla="*/ 15977 w 3065676"/>
              <a:gd name="connsiteY1" fmla="*/ 2108966 h 3427244"/>
              <a:gd name="connsiteX2" fmla="*/ 778853 w 3065676"/>
              <a:gd name="connsiteY2" fmla="*/ 1454014 h 3427244"/>
              <a:gd name="connsiteX3" fmla="*/ 900881 w 3065676"/>
              <a:gd name="connsiteY3" fmla="*/ 1213716 h 3427244"/>
              <a:gd name="connsiteX4" fmla="*/ 1132271 w 3065676"/>
              <a:gd name="connsiteY4" fmla="*/ 1063344 h 3427244"/>
              <a:gd name="connsiteX5" fmla="*/ 1846482 w 3065676"/>
              <a:gd name="connsiteY5" fmla="*/ 15738 h 3427244"/>
              <a:gd name="connsiteX6" fmla="*/ 2626814 w 3065676"/>
              <a:gd name="connsiteY6" fmla="*/ 467079 h 3427244"/>
              <a:gd name="connsiteX7" fmla="*/ 3051189 w 3065676"/>
              <a:gd name="connsiteY7" fmla="*/ 1400362 h 3427244"/>
              <a:gd name="connsiteX8" fmla="*/ 2458037 w 3065676"/>
              <a:gd name="connsiteY8" fmla="*/ 1977454 h 3427244"/>
              <a:gd name="connsiteX9" fmla="*/ 2322371 w 3065676"/>
              <a:gd name="connsiteY9" fmla="*/ 2186739 h 3427244"/>
              <a:gd name="connsiteX10" fmla="*/ 2155628 w 3065676"/>
              <a:gd name="connsiteY10" fmla="*/ 2861317 h 3427244"/>
              <a:gd name="connsiteX11" fmla="*/ 1290953 w 3065676"/>
              <a:gd name="connsiteY11" fmla="*/ 3423009 h 3427244"/>
              <a:gd name="connsiteX12" fmla="*/ 818967 w 3065676"/>
              <a:gd name="connsiteY12" fmla="*/ 2548770 h 3427244"/>
              <a:gd name="connsiteX0" fmla="*/ 818967 w 3138255"/>
              <a:gd name="connsiteY0" fmla="*/ 2548770 h 3427244"/>
              <a:gd name="connsiteX1" fmla="*/ 15977 w 3138255"/>
              <a:gd name="connsiteY1" fmla="*/ 2108966 h 3427244"/>
              <a:gd name="connsiteX2" fmla="*/ 778853 w 3138255"/>
              <a:gd name="connsiteY2" fmla="*/ 1454014 h 3427244"/>
              <a:gd name="connsiteX3" fmla="*/ 900881 w 3138255"/>
              <a:gd name="connsiteY3" fmla="*/ 1213716 h 3427244"/>
              <a:gd name="connsiteX4" fmla="*/ 1132271 w 3138255"/>
              <a:gd name="connsiteY4" fmla="*/ 1063344 h 3427244"/>
              <a:gd name="connsiteX5" fmla="*/ 1846482 w 3138255"/>
              <a:gd name="connsiteY5" fmla="*/ 15738 h 3427244"/>
              <a:gd name="connsiteX6" fmla="*/ 2626814 w 3138255"/>
              <a:gd name="connsiteY6" fmla="*/ 467079 h 3427244"/>
              <a:gd name="connsiteX7" fmla="*/ 3124994 w 3138255"/>
              <a:gd name="connsiteY7" fmla="*/ 1123834 h 3427244"/>
              <a:gd name="connsiteX8" fmla="*/ 2458037 w 3138255"/>
              <a:gd name="connsiteY8" fmla="*/ 1977454 h 3427244"/>
              <a:gd name="connsiteX9" fmla="*/ 2322371 w 3138255"/>
              <a:gd name="connsiteY9" fmla="*/ 2186739 h 3427244"/>
              <a:gd name="connsiteX10" fmla="*/ 2155628 w 3138255"/>
              <a:gd name="connsiteY10" fmla="*/ 2861317 h 3427244"/>
              <a:gd name="connsiteX11" fmla="*/ 1290953 w 3138255"/>
              <a:gd name="connsiteY11" fmla="*/ 3423009 h 3427244"/>
              <a:gd name="connsiteX12" fmla="*/ 818967 w 3138255"/>
              <a:gd name="connsiteY12" fmla="*/ 2548770 h 3427244"/>
              <a:gd name="connsiteX0" fmla="*/ 818967 w 3138255"/>
              <a:gd name="connsiteY0" fmla="*/ 2548770 h 3427244"/>
              <a:gd name="connsiteX1" fmla="*/ 15977 w 3138255"/>
              <a:gd name="connsiteY1" fmla="*/ 2108966 h 3427244"/>
              <a:gd name="connsiteX2" fmla="*/ 778853 w 3138255"/>
              <a:gd name="connsiteY2" fmla="*/ 1454014 h 3427244"/>
              <a:gd name="connsiteX3" fmla="*/ 900881 w 3138255"/>
              <a:gd name="connsiteY3" fmla="*/ 1213716 h 3427244"/>
              <a:gd name="connsiteX4" fmla="*/ 1132271 w 3138255"/>
              <a:gd name="connsiteY4" fmla="*/ 1063344 h 3427244"/>
              <a:gd name="connsiteX5" fmla="*/ 1846482 w 3138255"/>
              <a:gd name="connsiteY5" fmla="*/ 15738 h 3427244"/>
              <a:gd name="connsiteX6" fmla="*/ 2626814 w 3138255"/>
              <a:gd name="connsiteY6" fmla="*/ 467079 h 3427244"/>
              <a:gd name="connsiteX7" fmla="*/ 3124994 w 3138255"/>
              <a:gd name="connsiteY7" fmla="*/ 1123834 h 3427244"/>
              <a:gd name="connsiteX8" fmla="*/ 2458037 w 3138255"/>
              <a:gd name="connsiteY8" fmla="*/ 1977454 h 3427244"/>
              <a:gd name="connsiteX9" fmla="*/ 2322371 w 3138255"/>
              <a:gd name="connsiteY9" fmla="*/ 2186739 h 3427244"/>
              <a:gd name="connsiteX10" fmla="*/ 2155628 w 3138255"/>
              <a:gd name="connsiteY10" fmla="*/ 2861317 h 3427244"/>
              <a:gd name="connsiteX11" fmla="*/ 1290953 w 3138255"/>
              <a:gd name="connsiteY11" fmla="*/ 3423009 h 3427244"/>
              <a:gd name="connsiteX12" fmla="*/ 818967 w 3138255"/>
              <a:gd name="connsiteY12" fmla="*/ 2548770 h 3427244"/>
              <a:gd name="connsiteX0" fmla="*/ 818967 w 3138255"/>
              <a:gd name="connsiteY0" fmla="*/ 2533533 h 3412007"/>
              <a:gd name="connsiteX1" fmla="*/ 15977 w 3138255"/>
              <a:gd name="connsiteY1" fmla="*/ 2093729 h 3412007"/>
              <a:gd name="connsiteX2" fmla="*/ 778853 w 3138255"/>
              <a:gd name="connsiteY2" fmla="*/ 1438777 h 3412007"/>
              <a:gd name="connsiteX3" fmla="*/ 900881 w 3138255"/>
              <a:gd name="connsiteY3" fmla="*/ 1198479 h 3412007"/>
              <a:gd name="connsiteX4" fmla="*/ 1132271 w 3138255"/>
              <a:gd name="connsiteY4" fmla="*/ 1048107 h 3412007"/>
              <a:gd name="connsiteX5" fmla="*/ 1846482 w 3138255"/>
              <a:gd name="connsiteY5" fmla="*/ 501 h 3412007"/>
              <a:gd name="connsiteX6" fmla="*/ 2211664 w 3138255"/>
              <a:gd name="connsiteY6" fmla="*/ 909841 h 3412007"/>
              <a:gd name="connsiteX7" fmla="*/ 3124994 w 3138255"/>
              <a:gd name="connsiteY7" fmla="*/ 1108597 h 3412007"/>
              <a:gd name="connsiteX8" fmla="*/ 2458037 w 3138255"/>
              <a:gd name="connsiteY8" fmla="*/ 1962217 h 3412007"/>
              <a:gd name="connsiteX9" fmla="*/ 2322371 w 3138255"/>
              <a:gd name="connsiteY9" fmla="*/ 2171502 h 3412007"/>
              <a:gd name="connsiteX10" fmla="*/ 2155628 w 3138255"/>
              <a:gd name="connsiteY10" fmla="*/ 2846080 h 3412007"/>
              <a:gd name="connsiteX11" fmla="*/ 1290953 w 3138255"/>
              <a:gd name="connsiteY11" fmla="*/ 3407772 h 3412007"/>
              <a:gd name="connsiteX12" fmla="*/ 818967 w 3138255"/>
              <a:gd name="connsiteY12" fmla="*/ 2533533 h 3412007"/>
              <a:gd name="connsiteX0" fmla="*/ 818967 w 3139743"/>
              <a:gd name="connsiteY0" fmla="*/ 2533533 h 3412007"/>
              <a:gd name="connsiteX1" fmla="*/ 15977 w 3139743"/>
              <a:gd name="connsiteY1" fmla="*/ 2093729 h 3412007"/>
              <a:gd name="connsiteX2" fmla="*/ 778853 w 3139743"/>
              <a:gd name="connsiteY2" fmla="*/ 1438777 h 3412007"/>
              <a:gd name="connsiteX3" fmla="*/ 900881 w 3139743"/>
              <a:gd name="connsiteY3" fmla="*/ 1198479 h 3412007"/>
              <a:gd name="connsiteX4" fmla="*/ 1132271 w 3139743"/>
              <a:gd name="connsiteY4" fmla="*/ 1048107 h 3412007"/>
              <a:gd name="connsiteX5" fmla="*/ 1846482 w 3139743"/>
              <a:gd name="connsiteY5" fmla="*/ 501 h 3412007"/>
              <a:gd name="connsiteX6" fmla="*/ 2211664 w 3139743"/>
              <a:gd name="connsiteY6" fmla="*/ 909841 h 3412007"/>
              <a:gd name="connsiteX7" fmla="*/ 3124994 w 3139743"/>
              <a:gd name="connsiteY7" fmla="*/ 1108597 h 3412007"/>
              <a:gd name="connsiteX8" fmla="*/ 2531841 w 3139743"/>
              <a:gd name="connsiteY8" fmla="*/ 1996783 h 3412007"/>
              <a:gd name="connsiteX9" fmla="*/ 2322371 w 3139743"/>
              <a:gd name="connsiteY9" fmla="*/ 2171502 h 3412007"/>
              <a:gd name="connsiteX10" fmla="*/ 2155628 w 3139743"/>
              <a:gd name="connsiteY10" fmla="*/ 2846080 h 3412007"/>
              <a:gd name="connsiteX11" fmla="*/ 1290953 w 3139743"/>
              <a:gd name="connsiteY11" fmla="*/ 3407772 h 3412007"/>
              <a:gd name="connsiteX12" fmla="*/ 818967 w 3139743"/>
              <a:gd name="connsiteY12" fmla="*/ 2533533 h 3412007"/>
              <a:gd name="connsiteX0" fmla="*/ 818967 w 3139578"/>
              <a:gd name="connsiteY0" fmla="*/ 2533533 h 3412007"/>
              <a:gd name="connsiteX1" fmla="*/ 15977 w 3139578"/>
              <a:gd name="connsiteY1" fmla="*/ 2093729 h 3412007"/>
              <a:gd name="connsiteX2" fmla="*/ 778853 w 3139578"/>
              <a:gd name="connsiteY2" fmla="*/ 1438777 h 3412007"/>
              <a:gd name="connsiteX3" fmla="*/ 900881 w 3139578"/>
              <a:gd name="connsiteY3" fmla="*/ 1198479 h 3412007"/>
              <a:gd name="connsiteX4" fmla="*/ 1132271 w 3139578"/>
              <a:gd name="connsiteY4" fmla="*/ 1048107 h 3412007"/>
              <a:gd name="connsiteX5" fmla="*/ 1846482 w 3139578"/>
              <a:gd name="connsiteY5" fmla="*/ 501 h 3412007"/>
              <a:gd name="connsiteX6" fmla="*/ 2211664 w 3139578"/>
              <a:gd name="connsiteY6" fmla="*/ 909841 h 3412007"/>
              <a:gd name="connsiteX7" fmla="*/ 3124994 w 3139578"/>
              <a:gd name="connsiteY7" fmla="*/ 1108597 h 3412007"/>
              <a:gd name="connsiteX8" fmla="*/ 2531841 w 3139578"/>
              <a:gd name="connsiteY8" fmla="*/ 1996783 h 3412007"/>
              <a:gd name="connsiteX9" fmla="*/ 2368500 w 3139578"/>
              <a:gd name="connsiteY9" fmla="*/ 2473956 h 3412007"/>
              <a:gd name="connsiteX10" fmla="*/ 2155628 w 3139578"/>
              <a:gd name="connsiteY10" fmla="*/ 2846080 h 3412007"/>
              <a:gd name="connsiteX11" fmla="*/ 1290953 w 3139578"/>
              <a:gd name="connsiteY11" fmla="*/ 3407772 h 3412007"/>
              <a:gd name="connsiteX12" fmla="*/ 818967 w 3139578"/>
              <a:gd name="connsiteY12" fmla="*/ 2533533 h 3412007"/>
              <a:gd name="connsiteX0" fmla="*/ 818967 w 3139578"/>
              <a:gd name="connsiteY0" fmla="*/ 2533533 h 3412007"/>
              <a:gd name="connsiteX1" fmla="*/ 15977 w 3139578"/>
              <a:gd name="connsiteY1" fmla="*/ 2093729 h 3412007"/>
              <a:gd name="connsiteX2" fmla="*/ 778853 w 3139578"/>
              <a:gd name="connsiteY2" fmla="*/ 1438777 h 3412007"/>
              <a:gd name="connsiteX3" fmla="*/ 900881 w 3139578"/>
              <a:gd name="connsiteY3" fmla="*/ 1198479 h 3412007"/>
              <a:gd name="connsiteX4" fmla="*/ 1132271 w 3139578"/>
              <a:gd name="connsiteY4" fmla="*/ 1048107 h 3412007"/>
              <a:gd name="connsiteX5" fmla="*/ 1846482 w 3139578"/>
              <a:gd name="connsiteY5" fmla="*/ 501 h 3412007"/>
              <a:gd name="connsiteX6" fmla="*/ 2211664 w 3139578"/>
              <a:gd name="connsiteY6" fmla="*/ 909841 h 3412007"/>
              <a:gd name="connsiteX7" fmla="*/ 3124994 w 3139578"/>
              <a:gd name="connsiteY7" fmla="*/ 1108597 h 3412007"/>
              <a:gd name="connsiteX8" fmla="*/ 2531841 w 3139578"/>
              <a:gd name="connsiteY8" fmla="*/ 1996783 h 3412007"/>
              <a:gd name="connsiteX9" fmla="*/ 2368500 w 3139578"/>
              <a:gd name="connsiteY9" fmla="*/ 2473956 h 3412007"/>
              <a:gd name="connsiteX10" fmla="*/ 2155628 w 3139578"/>
              <a:gd name="connsiteY10" fmla="*/ 2846080 h 3412007"/>
              <a:gd name="connsiteX11" fmla="*/ 1290953 w 3139578"/>
              <a:gd name="connsiteY11" fmla="*/ 3407772 h 3412007"/>
              <a:gd name="connsiteX12" fmla="*/ 818967 w 3139578"/>
              <a:gd name="connsiteY12" fmla="*/ 2533533 h 3412007"/>
              <a:gd name="connsiteX0" fmla="*/ 818967 w 3139578"/>
              <a:gd name="connsiteY0" fmla="*/ 2533533 h 3499012"/>
              <a:gd name="connsiteX1" fmla="*/ 15977 w 3139578"/>
              <a:gd name="connsiteY1" fmla="*/ 2093729 h 3499012"/>
              <a:gd name="connsiteX2" fmla="*/ 778853 w 3139578"/>
              <a:gd name="connsiteY2" fmla="*/ 1438777 h 3499012"/>
              <a:gd name="connsiteX3" fmla="*/ 900881 w 3139578"/>
              <a:gd name="connsiteY3" fmla="*/ 1198479 h 3499012"/>
              <a:gd name="connsiteX4" fmla="*/ 1132271 w 3139578"/>
              <a:gd name="connsiteY4" fmla="*/ 1048107 h 3499012"/>
              <a:gd name="connsiteX5" fmla="*/ 1846482 w 3139578"/>
              <a:gd name="connsiteY5" fmla="*/ 501 h 3499012"/>
              <a:gd name="connsiteX6" fmla="*/ 2211664 w 3139578"/>
              <a:gd name="connsiteY6" fmla="*/ 909841 h 3499012"/>
              <a:gd name="connsiteX7" fmla="*/ 3124994 w 3139578"/>
              <a:gd name="connsiteY7" fmla="*/ 1108597 h 3499012"/>
              <a:gd name="connsiteX8" fmla="*/ 2531841 w 3139578"/>
              <a:gd name="connsiteY8" fmla="*/ 1996783 h 3499012"/>
              <a:gd name="connsiteX9" fmla="*/ 2368500 w 3139578"/>
              <a:gd name="connsiteY9" fmla="*/ 2473956 h 3499012"/>
              <a:gd name="connsiteX10" fmla="*/ 1851185 w 3139578"/>
              <a:gd name="connsiteY10" fmla="*/ 3355928 h 3499012"/>
              <a:gd name="connsiteX11" fmla="*/ 1290953 w 3139578"/>
              <a:gd name="connsiteY11" fmla="*/ 3407772 h 3499012"/>
              <a:gd name="connsiteX12" fmla="*/ 818967 w 3139578"/>
              <a:gd name="connsiteY12" fmla="*/ 2533533 h 3499012"/>
              <a:gd name="connsiteX0" fmla="*/ 818967 w 3139578"/>
              <a:gd name="connsiteY0" fmla="*/ 2533533 h 3509452"/>
              <a:gd name="connsiteX1" fmla="*/ 15977 w 3139578"/>
              <a:gd name="connsiteY1" fmla="*/ 2093729 h 3509452"/>
              <a:gd name="connsiteX2" fmla="*/ 778853 w 3139578"/>
              <a:gd name="connsiteY2" fmla="*/ 1438777 h 3509452"/>
              <a:gd name="connsiteX3" fmla="*/ 900881 w 3139578"/>
              <a:gd name="connsiteY3" fmla="*/ 1198479 h 3509452"/>
              <a:gd name="connsiteX4" fmla="*/ 1132271 w 3139578"/>
              <a:gd name="connsiteY4" fmla="*/ 1048107 h 3509452"/>
              <a:gd name="connsiteX5" fmla="*/ 1846482 w 3139578"/>
              <a:gd name="connsiteY5" fmla="*/ 501 h 3509452"/>
              <a:gd name="connsiteX6" fmla="*/ 2211664 w 3139578"/>
              <a:gd name="connsiteY6" fmla="*/ 909841 h 3509452"/>
              <a:gd name="connsiteX7" fmla="*/ 3124994 w 3139578"/>
              <a:gd name="connsiteY7" fmla="*/ 1108597 h 3509452"/>
              <a:gd name="connsiteX8" fmla="*/ 2531841 w 3139578"/>
              <a:gd name="connsiteY8" fmla="*/ 1996783 h 3509452"/>
              <a:gd name="connsiteX9" fmla="*/ 2368500 w 3139578"/>
              <a:gd name="connsiteY9" fmla="*/ 2473956 h 3509452"/>
              <a:gd name="connsiteX10" fmla="*/ 1851185 w 3139578"/>
              <a:gd name="connsiteY10" fmla="*/ 3355928 h 3509452"/>
              <a:gd name="connsiteX11" fmla="*/ 857351 w 3139578"/>
              <a:gd name="connsiteY11" fmla="*/ 3425056 h 3509452"/>
              <a:gd name="connsiteX12" fmla="*/ 818967 w 3139578"/>
              <a:gd name="connsiteY12" fmla="*/ 2533533 h 3509452"/>
              <a:gd name="connsiteX0" fmla="*/ 818967 w 3139578"/>
              <a:gd name="connsiteY0" fmla="*/ 2533533 h 3491310"/>
              <a:gd name="connsiteX1" fmla="*/ 15977 w 3139578"/>
              <a:gd name="connsiteY1" fmla="*/ 2093729 h 3491310"/>
              <a:gd name="connsiteX2" fmla="*/ 778853 w 3139578"/>
              <a:gd name="connsiteY2" fmla="*/ 1438777 h 3491310"/>
              <a:gd name="connsiteX3" fmla="*/ 900881 w 3139578"/>
              <a:gd name="connsiteY3" fmla="*/ 1198479 h 3491310"/>
              <a:gd name="connsiteX4" fmla="*/ 1132271 w 3139578"/>
              <a:gd name="connsiteY4" fmla="*/ 1048107 h 3491310"/>
              <a:gd name="connsiteX5" fmla="*/ 1846482 w 3139578"/>
              <a:gd name="connsiteY5" fmla="*/ 501 h 3491310"/>
              <a:gd name="connsiteX6" fmla="*/ 2211664 w 3139578"/>
              <a:gd name="connsiteY6" fmla="*/ 909841 h 3491310"/>
              <a:gd name="connsiteX7" fmla="*/ 3124994 w 3139578"/>
              <a:gd name="connsiteY7" fmla="*/ 1108597 h 3491310"/>
              <a:gd name="connsiteX8" fmla="*/ 2531841 w 3139578"/>
              <a:gd name="connsiteY8" fmla="*/ 1996783 h 3491310"/>
              <a:gd name="connsiteX9" fmla="*/ 2368500 w 3139578"/>
              <a:gd name="connsiteY9" fmla="*/ 2473956 h 3491310"/>
              <a:gd name="connsiteX10" fmla="*/ 1851185 w 3139578"/>
              <a:gd name="connsiteY10" fmla="*/ 3355928 h 3491310"/>
              <a:gd name="connsiteX11" fmla="*/ 857351 w 3139578"/>
              <a:gd name="connsiteY11" fmla="*/ 3425056 h 3491310"/>
              <a:gd name="connsiteX12" fmla="*/ 818967 w 3139578"/>
              <a:gd name="connsiteY12" fmla="*/ 2533533 h 3491310"/>
              <a:gd name="connsiteX0" fmla="*/ 459169 w 3139578"/>
              <a:gd name="connsiteY0" fmla="*/ 2524892 h 3510064"/>
              <a:gd name="connsiteX1" fmla="*/ 15977 w 3139578"/>
              <a:gd name="connsiteY1" fmla="*/ 2093729 h 3510064"/>
              <a:gd name="connsiteX2" fmla="*/ 778853 w 3139578"/>
              <a:gd name="connsiteY2" fmla="*/ 1438777 h 3510064"/>
              <a:gd name="connsiteX3" fmla="*/ 900881 w 3139578"/>
              <a:gd name="connsiteY3" fmla="*/ 1198479 h 3510064"/>
              <a:gd name="connsiteX4" fmla="*/ 1132271 w 3139578"/>
              <a:gd name="connsiteY4" fmla="*/ 1048107 h 3510064"/>
              <a:gd name="connsiteX5" fmla="*/ 1846482 w 3139578"/>
              <a:gd name="connsiteY5" fmla="*/ 501 h 3510064"/>
              <a:gd name="connsiteX6" fmla="*/ 2211664 w 3139578"/>
              <a:gd name="connsiteY6" fmla="*/ 909841 h 3510064"/>
              <a:gd name="connsiteX7" fmla="*/ 3124994 w 3139578"/>
              <a:gd name="connsiteY7" fmla="*/ 1108597 h 3510064"/>
              <a:gd name="connsiteX8" fmla="*/ 2531841 w 3139578"/>
              <a:gd name="connsiteY8" fmla="*/ 1996783 h 3510064"/>
              <a:gd name="connsiteX9" fmla="*/ 2368500 w 3139578"/>
              <a:gd name="connsiteY9" fmla="*/ 2473956 h 3510064"/>
              <a:gd name="connsiteX10" fmla="*/ 1851185 w 3139578"/>
              <a:gd name="connsiteY10" fmla="*/ 3355928 h 3510064"/>
              <a:gd name="connsiteX11" fmla="*/ 857351 w 3139578"/>
              <a:gd name="connsiteY11" fmla="*/ 3425056 h 3510064"/>
              <a:gd name="connsiteX12" fmla="*/ 459169 w 3139578"/>
              <a:gd name="connsiteY12" fmla="*/ 2524892 h 3510064"/>
              <a:gd name="connsiteX0" fmla="*/ 925801 w 3606210"/>
              <a:gd name="connsiteY0" fmla="*/ 2524892 h 3510065"/>
              <a:gd name="connsiteX1" fmla="*/ 12105 w 3606210"/>
              <a:gd name="connsiteY1" fmla="*/ 2128295 h 3510065"/>
              <a:gd name="connsiteX2" fmla="*/ 1245485 w 3606210"/>
              <a:gd name="connsiteY2" fmla="*/ 1438777 h 3510065"/>
              <a:gd name="connsiteX3" fmla="*/ 1367513 w 3606210"/>
              <a:gd name="connsiteY3" fmla="*/ 1198479 h 3510065"/>
              <a:gd name="connsiteX4" fmla="*/ 1598903 w 3606210"/>
              <a:gd name="connsiteY4" fmla="*/ 1048107 h 3510065"/>
              <a:gd name="connsiteX5" fmla="*/ 2313114 w 3606210"/>
              <a:gd name="connsiteY5" fmla="*/ 501 h 3510065"/>
              <a:gd name="connsiteX6" fmla="*/ 2678296 w 3606210"/>
              <a:gd name="connsiteY6" fmla="*/ 909841 h 3510065"/>
              <a:gd name="connsiteX7" fmla="*/ 3591626 w 3606210"/>
              <a:gd name="connsiteY7" fmla="*/ 1108597 h 3510065"/>
              <a:gd name="connsiteX8" fmla="*/ 2998473 w 3606210"/>
              <a:gd name="connsiteY8" fmla="*/ 1996783 h 3510065"/>
              <a:gd name="connsiteX9" fmla="*/ 2835132 w 3606210"/>
              <a:gd name="connsiteY9" fmla="*/ 2473956 h 3510065"/>
              <a:gd name="connsiteX10" fmla="*/ 2317817 w 3606210"/>
              <a:gd name="connsiteY10" fmla="*/ 3355928 h 3510065"/>
              <a:gd name="connsiteX11" fmla="*/ 1323983 w 3606210"/>
              <a:gd name="connsiteY11" fmla="*/ 3425056 h 3510065"/>
              <a:gd name="connsiteX12" fmla="*/ 925801 w 3606210"/>
              <a:gd name="connsiteY12" fmla="*/ 2524892 h 3510065"/>
              <a:gd name="connsiteX0" fmla="*/ 815094 w 3606210"/>
              <a:gd name="connsiteY0" fmla="*/ 2473043 h 3513750"/>
              <a:gd name="connsiteX1" fmla="*/ 12105 w 3606210"/>
              <a:gd name="connsiteY1" fmla="*/ 2128295 h 3513750"/>
              <a:gd name="connsiteX2" fmla="*/ 1245485 w 3606210"/>
              <a:gd name="connsiteY2" fmla="*/ 1438777 h 3513750"/>
              <a:gd name="connsiteX3" fmla="*/ 1367513 w 3606210"/>
              <a:gd name="connsiteY3" fmla="*/ 1198479 h 3513750"/>
              <a:gd name="connsiteX4" fmla="*/ 1598903 w 3606210"/>
              <a:gd name="connsiteY4" fmla="*/ 1048107 h 3513750"/>
              <a:gd name="connsiteX5" fmla="*/ 2313114 w 3606210"/>
              <a:gd name="connsiteY5" fmla="*/ 501 h 3513750"/>
              <a:gd name="connsiteX6" fmla="*/ 2678296 w 3606210"/>
              <a:gd name="connsiteY6" fmla="*/ 909841 h 3513750"/>
              <a:gd name="connsiteX7" fmla="*/ 3591626 w 3606210"/>
              <a:gd name="connsiteY7" fmla="*/ 1108597 h 3513750"/>
              <a:gd name="connsiteX8" fmla="*/ 2998473 w 3606210"/>
              <a:gd name="connsiteY8" fmla="*/ 1996783 h 3513750"/>
              <a:gd name="connsiteX9" fmla="*/ 2835132 w 3606210"/>
              <a:gd name="connsiteY9" fmla="*/ 2473956 h 3513750"/>
              <a:gd name="connsiteX10" fmla="*/ 2317817 w 3606210"/>
              <a:gd name="connsiteY10" fmla="*/ 3355928 h 3513750"/>
              <a:gd name="connsiteX11" fmla="*/ 1323983 w 3606210"/>
              <a:gd name="connsiteY11" fmla="*/ 3425056 h 3513750"/>
              <a:gd name="connsiteX12" fmla="*/ 815094 w 3606210"/>
              <a:gd name="connsiteY12" fmla="*/ 2473043 h 3513750"/>
              <a:gd name="connsiteX0" fmla="*/ 769352 w 3560468"/>
              <a:gd name="connsiteY0" fmla="*/ 2473043 h 3513750"/>
              <a:gd name="connsiteX1" fmla="*/ 12491 w 3560468"/>
              <a:gd name="connsiteY1" fmla="*/ 2102371 h 3513750"/>
              <a:gd name="connsiteX2" fmla="*/ 1199743 w 3560468"/>
              <a:gd name="connsiteY2" fmla="*/ 1438777 h 3513750"/>
              <a:gd name="connsiteX3" fmla="*/ 1321771 w 3560468"/>
              <a:gd name="connsiteY3" fmla="*/ 1198479 h 3513750"/>
              <a:gd name="connsiteX4" fmla="*/ 1553161 w 3560468"/>
              <a:gd name="connsiteY4" fmla="*/ 1048107 h 3513750"/>
              <a:gd name="connsiteX5" fmla="*/ 2267372 w 3560468"/>
              <a:gd name="connsiteY5" fmla="*/ 501 h 3513750"/>
              <a:gd name="connsiteX6" fmla="*/ 2632554 w 3560468"/>
              <a:gd name="connsiteY6" fmla="*/ 909841 h 3513750"/>
              <a:gd name="connsiteX7" fmla="*/ 3545884 w 3560468"/>
              <a:gd name="connsiteY7" fmla="*/ 1108597 h 3513750"/>
              <a:gd name="connsiteX8" fmla="*/ 2952731 w 3560468"/>
              <a:gd name="connsiteY8" fmla="*/ 1996783 h 3513750"/>
              <a:gd name="connsiteX9" fmla="*/ 2789390 w 3560468"/>
              <a:gd name="connsiteY9" fmla="*/ 2473956 h 3513750"/>
              <a:gd name="connsiteX10" fmla="*/ 2272075 w 3560468"/>
              <a:gd name="connsiteY10" fmla="*/ 3355928 h 3513750"/>
              <a:gd name="connsiteX11" fmla="*/ 1278241 w 3560468"/>
              <a:gd name="connsiteY11" fmla="*/ 3425056 h 3513750"/>
              <a:gd name="connsiteX12" fmla="*/ 769352 w 3560468"/>
              <a:gd name="connsiteY12" fmla="*/ 2473043 h 3513750"/>
              <a:gd name="connsiteX0" fmla="*/ 769352 w 3560673"/>
              <a:gd name="connsiteY0" fmla="*/ 2473043 h 3513750"/>
              <a:gd name="connsiteX1" fmla="*/ 12491 w 3560673"/>
              <a:gd name="connsiteY1" fmla="*/ 2102371 h 3513750"/>
              <a:gd name="connsiteX2" fmla="*/ 1199743 w 3560673"/>
              <a:gd name="connsiteY2" fmla="*/ 1438777 h 3513750"/>
              <a:gd name="connsiteX3" fmla="*/ 1321771 w 3560673"/>
              <a:gd name="connsiteY3" fmla="*/ 1198479 h 3513750"/>
              <a:gd name="connsiteX4" fmla="*/ 1553161 w 3560673"/>
              <a:gd name="connsiteY4" fmla="*/ 1048107 h 3513750"/>
              <a:gd name="connsiteX5" fmla="*/ 2267372 w 3560673"/>
              <a:gd name="connsiteY5" fmla="*/ 501 h 3513750"/>
              <a:gd name="connsiteX6" fmla="*/ 2632554 w 3560673"/>
              <a:gd name="connsiteY6" fmla="*/ 909841 h 3513750"/>
              <a:gd name="connsiteX7" fmla="*/ 3545884 w 3560673"/>
              <a:gd name="connsiteY7" fmla="*/ 1108597 h 3513750"/>
              <a:gd name="connsiteX8" fmla="*/ 2961957 w 3560673"/>
              <a:gd name="connsiteY8" fmla="*/ 2005425 h 3513750"/>
              <a:gd name="connsiteX9" fmla="*/ 2789390 w 3560673"/>
              <a:gd name="connsiteY9" fmla="*/ 2473956 h 3513750"/>
              <a:gd name="connsiteX10" fmla="*/ 2272075 w 3560673"/>
              <a:gd name="connsiteY10" fmla="*/ 3355928 h 3513750"/>
              <a:gd name="connsiteX11" fmla="*/ 1278241 w 3560673"/>
              <a:gd name="connsiteY11" fmla="*/ 3425056 h 3513750"/>
              <a:gd name="connsiteX12" fmla="*/ 769352 w 3560673"/>
              <a:gd name="connsiteY12" fmla="*/ 2473043 h 3513750"/>
              <a:gd name="connsiteX0" fmla="*/ 769352 w 3559640"/>
              <a:gd name="connsiteY0" fmla="*/ 2473043 h 3513750"/>
              <a:gd name="connsiteX1" fmla="*/ 12491 w 3559640"/>
              <a:gd name="connsiteY1" fmla="*/ 2102371 h 3513750"/>
              <a:gd name="connsiteX2" fmla="*/ 1199743 w 3559640"/>
              <a:gd name="connsiteY2" fmla="*/ 1438777 h 3513750"/>
              <a:gd name="connsiteX3" fmla="*/ 1321771 w 3559640"/>
              <a:gd name="connsiteY3" fmla="*/ 1198479 h 3513750"/>
              <a:gd name="connsiteX4" fmla="*/ 1553161 w 3559640"/>
              <a:gd name="connsiteY4" fmla="*/ 1048107 h 3513750"/>
              <a:gd name="connsiteX5" fmla="*/ 2267372 w 3559640"/>
              <a:gd name="connsiteY5" fmla="*/ 501 h 3513750"/>
              <a:gd name="connsiteX6" fmla="*/ 2632554 w 3559640"/>
              <a:gd name="connsiteY6" fmla="*/ 909841 h 3513750"/>
              <a:gd name="connsiteX7" fmla="*/ 3545884 w 3559640"/>
              <a:gd name="connsiteY7" fmla="*/ 1108597 h 3513750"/>
              <a:gd name="connsiteX8" fmla="*/ 2961957 w 3559640"/>
              <a:gd name="connsiteY8" fmla="*/ 2005425 h 3513750"/>
              <a:gd name="connsiteX9" fmla="*/ 3093833 w 3559640"/>
              <a:gd name="connsiteY9" fmla="*/ 2914672 h 3513750"/>
              <a:gd name="connsiteX10" fmla="*/ 2272075 w 3559640"/>
              <a:gd name="connsiteY10" fmla="*/ 3355928 h 3513750"/>
              <a:gd name="connsiteX11" fmla="*/ 1278241 w 3559640"/>
              <a:gd name="connsiteY11" fmla="*/ 3425056 h 3513750"/>
              <a:gd name="connsiteX12" fmla="*/ 769352 w 3559640"/>
              <a:gd name="connsiteY12" fmla="*/ 2473043 h 3513750"/>
              <a:gd name="connsiteX0" fmla="*/ 769352 w 3559640"/>
              <a:gd name="connsiteY0" fmla="*/ 2473043 h 3513750"/>
              <a:gd name="connsiteX1" fmla="*/ 12491 w 3559640"/>
              <a:gd name="connsiteY1" fmla="*/ 2102371 h 3513750"/>
              <a:gd name="connsiteX2" fmla="*/ 1199743 w 3559640"/>
              <a:gd name="connsiteY2" fmla="*/ 1438777 h 3513750"/>
              <a:gd name="connsiteX3" fmla="*/ 1321771 w 3559640"/>
              <a:gd name="connsiteY3" fmla="*/ 1198479 h 3513750"/>
              <a:gd name="connsiteX4" fmla="*/ 1553161 w 3559640"/>
              <a:gd name="connsiteY4" fmla="*/ 1048107 h 3513750"/>
              <a:gd name="connsiteX5" fmla="*/ 2267372 w 3559640"/>
              <a:gd name="connsiteY5" fmla="*/ 501 h 3513750"/>
              <a:gd name="connsiteX6" fmla="*/ 2632554 w 3559640"/>
              <a:gd name="connsiteY6" fmla="*/ 909841 h 3513750"/>
              <a:gd name="connsiteX7" fmla="*/ 3545884 w 3559640"/>
              <a:gd name="connsiteY7" fmla="*/ 1108597 h 3513750"/>
              <a:gd name="connsiteX8" fmla="*/ 2961957 w 3559640"/>
              <a:gd name="connsiteY8" fmla="*/ 2005425 h 3513750"/>
              <a:gd name="connsiteX9" fmla="*/ 3093833 w 3559640"/>
              <a:gd name="connsiteY9" fmla="*/ 2914672 h 3513750"/>
              <a:gd name="connsiteX10" fmla="*/ 2272075 w 3559640"/>
              <a:gd name="connsiteY10" fmla="*/ 3355928 h 3513750"/>
              <a:gd name="connsiteX11" fmla="*/ 1278241 w 3559640"/>
              <a:gd name="connsiteY11" fmla="*/ 3425056 h 3513750"/>
              <a:gd name="connsiteX12" fmla="*/ 769352 w 3559640"/>
              <a:gd name="connsiteY12" fmla="*/ 2473043 h 3513750"/>
              <a:gd name="connsiteX0" fmla="*/ 769352 w 3559640"/>
              <a:gd name="connsiteY0" fmla="*/ 2473043 h 3513750"/>
              <a:gd name="connsiteX1" fmla="*/ 12491 w 3559640"/>
              <a:gd name="connsiteY1" fmla="*/ 2102371 h 3513750"/>
              <a:gd name="connsiteX2" fmla="*/ 1199743 w 3559640"/>
              <a:gd name="connsiteY2" fmla="*/ 1438777 h 3513750"/>
              <a:gd name="connsiteX3" fmla="*/ 1321771 w 3559640"/>
              <a:gd name="connsiteY3" fmla="*/ 1198479 h 3513750"/>
              <a:gd name="connsiteX4" fmla="*/ 1553161 w 3559640"/>
              <a:gd name="connsiteY4" fmla="*/ 1048107 h 3513750"/>
              <a:gd name="connsiteX5" fmla="*/ 2267372 w 3559640"/>
              <a:gd name="connsiteY5" fmla="*/ 501 h 3513750"/>
              <a:gd name="connsiteX6" fmla="*/ 2632554 w 3559640"/>
              <a:gd name="connsiteY6" fmla="*/ 909841 h 3513750"/>
              <a:gd name="connsiteX7" fmla="*/ 3545884 w 3559640"/>
              <a:gd name="connsiteY7" fmla="*/ 1108597 h 3513750"/>
              <a:gd name="connsiteX8" fmla="*/ 2961957 w 3559640"/>
              <a:gd name="connsiteY8" fmla="*/ 2005425 h 3513750"/>
              <a:gd name="connsiteX9" fmla="*/ 3093833 w 3559640"/>
              <a:gd name="connsiteY9" fmla="*/ 2914672 h 3513750"/>
              <a:gd name="connsiteX10" fmla="*/ 2272075 w 3559640"/>
              <a:gd name="connsiteY10" fmla="*/ 3355928 h 3513750"/>
              <a:gd name="connsiteX11" fmla="*/ 1278241 w 3559640"/>
              <a:gd name="connsiteY11" fmla="*/ 3425056 h 3513750"/>
              <a:gd name="connsiteX12" fmla="*/ 769352 w 3559640"/>
              <a:gd name="connsiteY12" fmla="*/ 2473043 h 3513750"/>
              <a:gd name="connsiteX0" fmla="*/ 768250 w 3558538"/>
              <a:gd name="connsiteY0" fmla="*/ 2473043 h 3513750"/>
              <a:gd name="connsiteX1" fmla="*/ 11389 w 3558538"/>
              <a:gd name="connsiteY1" fmla="*/ 2102371 h 3513750"/>
              <a:gd name="connsiteX2" fmla="*/ 1198641 w 3558538"/>
              <a:gd name="connsiteY2" fmla="*/ 1438777 h 3513750"/>
              <a:gd name="connsiteX3" fmla="*/ 1320669 w 3558538"/>
              <a:gd name="connsiteY3" fmla="*/ 1198479 h 3513750"/>
              <a:gd name="connsiteX4" fmla="*/ 1552059 w 3558538"/>
              <a:gd name="connsiteY4" fmla="*/ 1048107 h 3513750"/>
              <a:gd name="connsiteX5" fmla="*/ 2266270 w 3558538"/>
              <a:gd name="connsiteY5" fmla="*/ 501 h 3513750"/>
              <a:gd name="connsiteX6" fmla="*/ 2631452 w 3558538"/>
              <a:gd name="connsiteY6" fmla="*/ 909841 h 3513750"/>
              <a:gd name="connsiteX7" fmla="*/ 3544782 w 3558538"/>
              <a:gd name="connsiteY7" fmla="*/ 1108597 h 3513750"/>
              <a:gd name="connsiteX8" fmla="*/ 2960855 w 3558538"/>
              <a:gd name="connsiteY8" fmla="*/ 2005425 h 3513750"/>
              <a:gd name="connsiteX9" fmla="*/ 3092731 w 3558538"/>
              <a:gd name="connsiteY9" fmla="*/ 2914672 h 3513750"/>
              <a:gd name="connsiteX10" fmla="*/ 2270973 w 3558538"/>
              <a:gd name="connsiteY10" fmla="*/ 3355928 h 3513750"/>
              <a:gd name="connsiteX11" fmla="*/ 1277139 w 3558538"/>
              <a:gd name="connsiteY11" fmla="*/ 3425056 h 3513750"/>
              <a:gd name="connsiteX12" fmla="*/ 768250 w 3558538"/>
              <a:gd name="connsiteY12" fmla="*/ 2473043 h 3513750"/>
              <a:gd name="connsiteX0" fmla="*/ 768491 w 3558779"/>
              <a:gd name="connsiteY0" fmla="*/ 2473043 h 3513750"/>
              <a:gd name="connsiteX1" fmla="*/ 11630 w 3558779"/>
              <a:gd name="connsiteY1" fmla="*/ 2102371 h 3513750"/>
              <a:gd name="connsiteX2" fmla="*/ 1171205 w 3558779"/>
              <a:gd name="connsiteY2" fmla="*/ 1404211 h 3513750"/>
              <a:gd name="connsiteX3" fmla="*/ 1320910 w 3558779"/>
              <a:gd name="connsiteY3" fmla="*/ 1198479 h 3513750"/>
              <a:gd name="connsiteX4" fmla="*/ 1552300 w 3558779"/>
              <a:gd name="connsiteY4" fmla="*/ 1048107 h 3513750"/>
              <a:gd name="connsiteX5" fmla="*/ 2266511 w 3558779"/>
              <a:gd name="connsiteY5" fmla="*/ 501 h 3513750"/>
              <a:gd name="connsiteX6" fmla="*/ 2631693 w 3558779"/>
              <a:gd name="connsiteY6" fmla="*/ 909841 h 3513750"/>
              <a:gd name="connsiteX7" fmla="*/ 3545023 w 3558779"/>
              <a:gd name="connsiteY7" fmla="*/ 1108597 h 3513750"/>
              <a:gd name="connsiteX8" fmla="*/ 2961096 w 3558779"/>
              <a:gd name="connsiteY8" fmla="*/ 2005425 h 3513750"/>
              <a:gd name="connsiteX9" fmla="*/ 3092972 w 3558779"/>
              <a:gd name="connsiteY9" fmla="*/ 2914672 h 3513750"/>
              <a:gd name="connsiteX10" fmla="*/ 2271214 w 3558779"/>
              <a:gd name="connsiteY10" fmla="*/ 3355928 h 3513750"/>
              <a:gd name="connsiteX11" fmla="*/ 1277380 w 3558779"/>
              <a:gd name="connsiteY11" fmla="*/ 3425056 h 3513750"/>
              <a:gd name="connsiteX12" fmla="*/ 768491 w 3558779"/>
              <a:gd name="connsiteY12" fmla="*/ 2473043 h 3513750"/>
              <a:gd name="connsiteX0" fmla="*/ 768491 w 3558779"/>
              <a:gd name="connsiteY0" fmla="*/ 2473043 h 3513750"/>
              <a:gd name="connsiteX1" fmla="*/ 11630 w 3558779"/>
              <a:gd name="connsiteY1" fmla="*/ 2102371 h 3513750"/>
              <a:gd name="connsiteX2" fmla="*/ 1171205 w 3558779"/>
              <a:gd name="connsiteY2" fmla="*/ 1404211 h 3513750"/>
              <a:gd name="connsiteX3" fmla="*/ 1320910 w 3558779"/>
              <a:gd name="connsiteY3" fmla="*/ 1198479 h 3513750"/>
              <a:gd name="connsiteX4" fmla="*/ 1552300 w 3558779"/>
              <a:gd name="connsiteY4" fmla="*/ 1048107 h 3513750"/>
              <a:gd name="connsiteX5" fmla="*/ 2266511 w 3558779"/>
              <a:gd name="connsiteY5" fmla="*/ 501 h 3513750"/>
              <a:gd name="connsiteX6" fmla="*/ 2631693 w 3558779"/>
              <a:gd name="connsiteY6" fmla="*/ 909841 h 3513750"/>
              <a:gd name="connsiteX7" fmla="*/ 3545023 w 3558779"/>
              <a:gd name="connsiteY7" fmla="*/ 1108597 h 3513750"/>
              <a:gd name="connsiteX8" fmla="*/ 2961096 w 3558779"/>
              <a:gd name="connsiteY8" fmla="*/ 2005425 h 3513750"/>
              <a:gd name="connsiteX9" fmla="*/ 3092972 w 3558779"/>
              <a:gd name="connsiteY9" fmla="*/ 2914672 h 3513750"/>
              <a:gd name="connsiteX10" fmla="*/ 2271214 w 3558779"/>
              <a:gd name="connsiteY10" fmla="*/ 3355928 h 3513750"/>
              <a:gd name="connsiteX11" fmla="*/ 1277380 w 3558779"/>
              <a:gd name="connsiteY11" fmla="*/ 3425056 h 3513750"/>
              <a:gd name="connsiteX12" fmla="*/ 768491 w 3558779"/>
              <a:gd name="connsiteY12" fmla="*/ 2473043 h 3513750"/>
              <a:gd name="connsiteX0" fmla="*/ 768491 w 3558779"/>
              <a:gd name="connsiteY0" fmla="*/ 2473043 h 3513750"/>
              <a:gd name="connsiteX1" fmla="*/ 11630 w 3558779"/>
              <a:gd name="connsiteY1" fmla="*/ 2102371 h 3513750"/>
              <a:gd name="connsiteX2" fmla="*/ 1171205 w 3558779"/>
              <a:gd name="connsiteY2" fmla="*/ 1404211 h 3513750"/>
              <a:gd name="connsiteX3" fmla="*/ 1320910 w 3558779"/>
              <a:gd name="connsiteY3" fmla="*/ 1198479 h 3513750"/>
              <a:gd name="connsiteX4" fmla="*/ 1552300 w 3558779"/>
              <a:gd name="connsiteY4" fmla="*/ 1048107 h 3513750"/>
              <a:gd name="connsiteX5" fmla="*/ 2266511 w 3558779"/>
              <a:gd name="connsiteY5" fmla="*/ 501 h 3513750"/>
              <a:gd name="connsiteX6" fmla="*/ 2631693 w 3558779"/>
              <a:gd name="connsiteY6" fmla="*/ 909841 h 3513750"/>
              <a:gd name="connsiteX7" fmla="*/ 3545023 w 3558779"/>
              <a:gd name="connsiteY7" fmla="*/ 1108597 h 3513750"/>
              <a:gd name="connsiteX8" fmla="*/ 2961096 w 3558779"/>
              <a:gd name="connsiteY8" fmla="*/ 2005425 h 3513750"/>
              <a:gd name="connsiteX9" fmla="*/ 3092972 w 3558779"/>
              <a:gd name="connsiteY9" fmla="*/ 2914672 h 3513750"/>
              <a:gd name="connsiteX10" fmla="*/ 2271214 w 3558779"/>
              <a:gd name="connsiteY10" fmla="*/ 3355928 h 3513750"/>
              <a:gd name="connsiteX11" fmla="*/ 1277380 w 3558779"/>
              <a:gd name="connsiteY11" fmla="*/ 3425056 h 3513750"/>
              <a:gd name="connsiteX12" fmla="*/ 768491 w 3558779"/>
              <a:gd name="connsiteY12" fmla="*/ 2473043 h 3513750"/>
              <a:gd name="connsiteX0" fmla="*/ 768491 w 3558779"/>
              <a:gd name="connsiteY0" fmla="*/ 2473043 h 3513750"/>
              <a:gd name="connsiteX1" fmla="*/ 11630 w 3558779"/>
              <a:gd name="connsiteY1" fmla="*/ 2102371 h 3513750"/>
              <a:gd name="connsiteX2" fmla="*/ 1171205 w 3558779"/>
              <a:gd name="connsiteY2" fmla="*/ 1404211 h 3513750"/>
              <a:gd name="connsiteX3" fmla="*/ 1320910 w 3558779"/>
              <a:gd name="connsiteY3" fmla="*/ 1198479 h 3513750"/>
              <a:gd name="connsiteX4" fmla="*/ 1552300 w 3558779"/>
              <a:gd name="connsiteY4" fmla="*/ 1048107 h 3513750"/>
              <a:gd name="connsiteX5" fmla="*/ 2266511 w 3558779"/>
              <a:gd name="connsiteY5" fmla="*/ 501 h 3513750"/>
              <a:gd name="connsiteX6" fmla="*/ 2631693 w 3558779"/>
              <a:gd name="connsiteY6" fmla="*/ 909841 h 3513750"/>
              <a:gd name="connsiteX7" fmla="*/ 3545023 w 3558779"/>
              <a:gd name="connsiteY7" fmla="*/ 1108597 h 3513750"/>
              <a:gd name="connsiteX8" fmla="*/ 2961096 w 3558779"/>
              <a:gd name="connsiteY8" fmla="*/ 2005425 h 3513750"/>
              <a:gd name="connsiteX9" fmla="*/ 3092972 w 3558779"/>
              <a:gd name="connsiteY9" fmla="*/ 2914672 h 3513750"/>
              <a:gd name="connsiteX10" fmla="*/ 2271214 w 3558779"/>
              <a:gd name="connsiteY10" fmla="*/ 3355928 h 3513750"/>
              <a:gd name="connsiteX11" fmla="*/ 1277380 w 3558779"/>
              <a:gd name="connsiteY11" fmla="*/ 3425056 h 3513750"/>
              <a:gd name="connsiteX12" fmla="*/ 768491 w 3558779"/>
              <a:gd name="connsiteY12" fmla="*/ 2473043 h 3513750"/>
              <a:gd name="connsiteX0" fmla="*/ 769706 w 3559994"/>
              <a:gd name="connsiteY0" fmla="*/ 2473043 h 3513750"/>
              <a:gd name="connsiteX1" fmla="*/ 12845 w 3559994"/>
              <a:gd name="connsiteY1" fmla="*/ 2102371 h 3513750"/>
              <a:gd name="connsiteX2" fmla="*/ 1172420 w 3559994"/>
              <a:gd name="connsiteY2" fmla="*/ 1404211 h 3513750"/>
              <a:gd name="connsiteX3" fmla="*/ 1359027 w 3559994"/>
              <a:gd name="connsiteY3" fmla="*/ 1198479 h 3513750"/>
              <a:gd name="connsiteX4" fmla="*/ 1553515 w 3559994"/>
              <a:gd name="connsiteY4" fmla="*/ 1048107 h 3513750"/>
              <a:gd name="connsiteX5" fmla="*/ 2267726 w 3559994"/>
              <a:gd name="connsiteY5" fmla="*/ 501 h 3513750"/>
              <a:gd name="connsiteX6" fmla="*/ 2632908 w 3559994"/>
              <a:gd name="connsiteY6" fmla="*/ 909841 h 3513750"/>
              <a:gd name="connsiteX7" fmla="*/ 3546238 w 3559994"/>
              <a:gd name="connsiteY7" fmla="*/ 1108597 h 3513750"/>
              <a:gd name="connsiteX8" fmla="*/ 2962311 w 3559994"/>
              <a:gd name="connsiteY8" fmla="*/ 2005425 h 3513750"/>
              <a:gd name="connsiteX9" fmla="*/ 3094187 w 3559994"/>
              <a:gd name="connsiteY9" fmla="*/ 2914672 h 3513750"/>
              <a:gd name="connsiteX10" fmla="*/ 2272429 w 3559994"/>
              <a:gd name="connsiteY10" fmla="*/ 3355928 h 3513750"/>
              <a:gd name="connsiteX11" fmla="*/ 1278595 w 3559994"/>
              <a:gd name="connsiteY11" fmla="*/ 3425056 h 3513750"/>
              <a:gd name="connsiteX12" fmla="*/ 769706 w 3559994"/>
              <a:gd name="connsiteY12" fmla="*/ 2473043 h 3513750"/>
              <a:gd name="connsiteX0" fmla="*/ 769706 w 3559994"/>
              <a:gd name="connsiteY0" fmla="*/ 2473043 h 3513750"/>
              <a:gd name="connsiteX1" fmla="*/ 12845 w 3559994"/>
              <a:gd name="connsiteY1" fmla="*/ 2102371 h 3513750"/>
              <a:gd name="connsiteX2" fmla="*/ 1172420 w 3559994"/>
              <a:gd name="connsiteY2" fmla="*/ 1404211 h 3513750"/>
              <a:gd name="connsiteX3" fmla="*/ 1359027 w 3559994"/>
              <a:gd name="connsiteY3" fmla="*/ 1198479 h 3513750"/>
              <a:gd name="connsiteX4" fmla="*/ 1553515 w 3559994"/>
              <a:gd name="connsiteY4" fmla="*/ 1048107 h 3513750"/>
              <a:gd name="connsiteX5" fmla="*/ 2267726 w 3559994"/>
              <a:gd name="connsiteY5" fmla="*/ 501 h 3513750"/>
              <a:gd name="connsiteX6" fmla="*/ 2632908 w 3559994"/>
              <a:gd name="connsiteY6" fmla="*/ 909841 h 3513750"/>
              <a:gd name="connsiteX7" fmla="*/ 3546238 w 3559994"/>
              <a:gd name="connsiteY7" fmla="*/ 1108597 h 3513750"/>
              <a:gd name="connsiteX8" fmla="*/ 2962311 w 3559994"/>
              <a:gd name="connsiteY8" fmla="*/ 2005425 h 3513750"/>
              <a:gd name="connsiteX9" fmla="*/ 3094187 w 3559994"/>
              <a:gd name="connsiteY9" fmla="*/ 2914672 h 3513750"/>
              <a:gd name="connsiteX10" fmla="*/ 2272429 w 3559994"/>
              <a:gd name="connsiteY10" fmla="*/ 3355928 h 3513750"/>
              <a:gd name="connsiteX11" fmla="*/ 1278595 w 3559994"/>
              <a:gd name="connsiteY11" fmla="*/ 3425056 h 3513750"/>
              <a:gd name="connsiteX12" fmla="*/ 769706 w 3559994"/>
              <a:gd name="connsiteY12" fmla="*/ 2473043 h 3513750"/>
              <a:gd name="connsiteX0" fmla="*/ 768967 w 3559255"/>
              <a:gd name="connsiteY0" fmla="*/ 2473043 h 3513750"/>
              <a:gd name="connsiteX1" fmla="*/ 12106 w 3559255"/>
              <a:gd name="connsiteY1" fmla="*/ 2102371 h 3513750"/>
              <a:gd name="connsiteX2" fmla="*/ 1171681 w 3559255"/>
              <a:gd name="connsiteY2" fmla="*/ 1404211 h 3513750"/>
              <a:gd name="connsiteX3" fmla="*/ 1358288 w 3559255"/>
              <a:gd name="connsiteY3" fmla="*/ 1198479 h 3513750"/>
              <a:gd name="connsiteX4" fmla="*/ 1552776 w 3559255"/>
              <a:gd name="connsiteY4" fmla="*/ 1048107 h 3513750"/>
              <a:gd name="connsiteX5" fmla="*/ 2266987 w 3559255"/>
              <a:gd name="connsiteY5" fmla="*/ 501 h 3513750"/>
              <a:gd name="connsiteX6" fmla="*/ 2632169 w 3559255"/>
              <a:gd name="connsiteY6" fmla="*/ 909841 h 3513750"/>
              <a:gd name="connsiteX7" fmla="*/ 3545499 w 3559255"/>
              <a:gd name="connsiteY7" fmla="*/ 1108597 h 3513750"/>
              <a:gd name="connsiteX8" fmla="*/ 2961572 w 3559255"/>
              <a:gd name="connsiteY8" fmla="*/ 2005425 h 3513750"/>
              <a:gd name="connsiteX9" fmla="*/ 3093448 w 3559255"/>
              <a:gd name="connsiteY9" fmla="*/ 2914672 h 3513750"/>
              <a:gd name="connsiteX10" fmla="*/ 2271690 w 3559255"/>
              <a:gd name="connsiteY10" fmla="*/ 3355928 h 3513750"/>
              <a:gd name="connsiteX11" fmla="*/ 1277856 w 3559255"/>
              <a:gd name="connsiteY11" fmla="*/ 3425056 h 3513750"/>
              <a:gd name="connsiteX12" fmla="*/ 768967 w 3559255"/>
              <a:gd name="connsiteY12" fmla="*/ 2473043 h 3513750"/>
              <a:gd name="connsiteX0" fmla="*/ 768967 w 3560701"/>
              <a:gd name="connsiteY0" fmla="*/ 2473043 h 3513750"/>
              <a:gd name="connsiteX1" fmla="*/ 12106 w 3560701"/>
              <a:gd name="connsiteY1" fmla="*/ 2102371 h 3513750"/>
              <a:gd name="connsiteX2" fmla="*/ 1171681 w 3560701"/>
              <a:gd name="connsiteY2" fmla="*/ 1404211 h 3513750"/>
              <a:gd name="connsiteX3" fmla="*/ 1358288 w 3560701"/>
              <a:gd name="connsiteY3" fmla="*/ 1198479 h 3513750"/>
              <a:gd name="connsiteX4" fmla="*/ 1552776 w 3560701"/>
              <a:gd name="connsiteY4" fmla="*/ 1048107 h 3513750"/>
              <a:gd name="connsiteX5" fmla="*/ 2266987 w 3560701"/>
              <a:gd name="connsiteY5" fmla="*/ 501 h 3513750"/>
              <a:gd name="connsiteX6" fmla="*/ 2632169 w 3560701"/>
              <a:gd name="connsiteY6" fmla="*/ 909841 h 3513750"/>
              <a:gd name="connsiteX7" fmla="*/ 3545499 w 3560701"/>
              <a:gd name="connsiteY7" fmla="*/ 1108597 h 3513750"/>
              <a:gd name="connsiteX8" fmla="*/ 2961572 w 3560701"/>
              <a:gd name="connsiteY8" fmla="*/ 2005425 h 3513750"/>
              <a:gd name="connsiteX9" fmla="*/ 2678297 w 3560701"/>
              <a:gd name="connsiteY9" fmla="*/ 2508523 h 3513750"/>
              <a:gd name="connsiteX10" fmla="*/ 2271690 w 3560701"/>
              <a:gd name="connsiteY10" fmla="*/ 3355928 h 3513750"/>
              <a:gd name="connsiteX11" fmla="*/ 1277856 w 3560701"/>
              <a:gd name="connsiteY11" fmla="*/ 3425056 h 3513750"/>
              <a:gd name="connsiteX12" fmla="*/ 768967 w 3560701"/>
              <a:gd name="connsiteY12" fmla="*/ 2473043 h 3513750"/>
              <a:gd name="connsiteX0" fmla="*/ 768967 w 3560701"/>
              <a:gd name="connsiteY0" fmla="*/ 2473043 h 3513750"/>
              <a:gd name="connsiteX1" fmla="*/ 12106 w 3560701"/>
              <a:gd name="connsiteY1" fmla="*/ 2102371 h 3513750"/>
              <a:gd name="connsiteX2" fmla="*/ 1171681 w 3560701"/>
              <a:gd name="connsiteY2" fmla="*/ 1404211 h 3513750"/>
              <a:gd name="connsiteX3" fmla="*/ 1358288 w 3560701"/>
              <a:gd name="connsiteY3" fmla="*/ 1198479 h 3513750"/>
              <a:gd name="connsiteX4" fmla="*/ 1552776 w 3560701"/>
              <a:gd name="connsiteY4" fmla="*/ 1048107 h 3513750"/>
              <a:gd name="connsiteX5" fmla="*/ 2266987 w 3560701"/>
              <a:gd name="connsiteY5" fmla="*/ 501 h 3513750"/>
              <a:gd name="connsiteX6" fmla="*/ 2632169 w 3560701"/>
              <a:gd name="connsiteY6" fmla="*/ 909841 h 3513750"/>
              <a:gd name="connsiteX7" fmla="*/ 3545499 w 3560701"/>
              <a:gd name="connsiteY7" fmla="*/ 1108597 h 3513750"/>
              <a:gd name="connsiteX8" fmla="*/ 2961572 w 3560701"/>
              <a:gd name="connsiteY8" fmla="*/ 2005425 h 3513750"/>
              <a:gd name="connsiteX9" fmla="*/ 2678297 w 3560701"/>
              <a:gd name="connsiteY9" fmla="*/ 2508523 h 3513750"/>
              <a:gd name="connsiteX10" fmla="*/ 2271690 w 3560701"/>
              <a:gd name="connsiteY10" fmla="*/ 3355928 h 3513750"/>
              <a:gd name="connsiteX11" fmla="*/ 1277856 w 3560701"/>
              <a:gd name="connsiteY11" fmla="*/ 3425056 h 3513750"/>
              <a:gd name="connsiteX12" fmla="*/ 768967 w 3560701"/>
              <a:gd name="connsiteY12" fmla="*/ 2473043 h 3513750"/>
              <a:gd name="connsiteX0" fmla="*/ 768967 w 3641079"/>
              <a:gd name="connsiteY0" fmla="*/ 2473043 h 3513750"/>
              <a:gd name="connsiteX1" fmla="*/ 12106 w 3641079"/>
              <a:gd name="connsiteY1" fmla="*/ 2102371 h 3513750"/>
              <a:gd name="connsiteX2" fmla="*/ 1171681 w 3641079"/>
              <a:gd name="connsiteY2" fmla="*/ 1404211 h 3513750"/>
              <a:gd name="connsiteX3" fmla="*/ 1358288 w 3641079"/>
              <a:gd name="connsiteY3" fmla="*/ 1198479 h 3513750"/>
              <a:gd name="connsiteX4" fmla="*/ 1552776 w 3641079"/>
              <a:gd name="connsiteY4" fmla="*/ 1048107 h 3513750"/>
              <a:gd name="connsiteX5" fmla="*/ 2266987 w 3641079"/>
              <a:gd name="connsiteY5" fmla="*/ 501 h 3513750"/>
              <a:gd name="connsiteX6" fmla="*/ 2632169 w 3641079"/>
              <a:gd name="connsiteY6" fmla="*/ 909841 h 3513750"/>
              <a:gd name="connsiteX7" fmla="*/ 3545499 w 3641079"/>
              <a:gd name="connsiteY7" fmla="*/ 1108597 h 3513750"/>
              <a:gd name="connsiteX8" fmla="*/ 3542782 w 3641079"/>
              <a:gd name="connsiteY8" fmla="*/ 2160971 h 3513750"/>
              <a:gd name="connsiteX9" fmla="*/ 2678297 w 3641079"/>
              <a:gd name="connsiteY9" fmla="*/ 2508523 h 3513750"/>
              <a:gd name="connsiteX10" fmla="*/ 2271690 w 3641079"/>
              <a:gd name="connsiteY10" fmla="*/ 3355928 h 3513750"/>
              <a:gd name="connsiteX11" fmla="*/ 1277856 w 3641079"/>
              <a:gd name="connsiteY11" fmla="*/ 3425056 h 3513750"/>
              <a:gd name="connsiteX12" fmla="*/ 768967 w 3641079"/>
              <a:gd name="connsiteY12" fmla="*/ 2473043 h 3513750"/>
              <a:gd name="connsiteX0" fmla="*/ 768967 w 3641079"/>
              <a:gd name="connsiteY0" fmla="*/ 2488950 h 3529657"/>
              <a:gd name="connsiteX1" fmla="*/ 12106 w 3641079"/>
              <a:gd name="connsiteY1" fmla="*/ 2118278 h 3529657"/>
              <a:gd name="connsiteX2" fmla="*/ 1171681 w 3641079"/>
              <a:gd name="connsiteY2" fmla="*/ 1420118 h 3529657"/>
              <a:gd name="connsiteX3" fmla="*/ 1358288 w 3641079"/>
              <a:gd name="connsiteY3" fmla="*/ 1214386 h 3529657"/>
              <a:gd name="connsiteX4" fmla="*/ 1552776 w 3641079"/>
              <a:gd name="connsiteY4" fmla="*/ 1064014 h 3529657"/>
              <a:gd name="connsiteX5" fmla="*/ 2266987 w 3641079"/>
              <a:gd name="connsiteY5" fmla="*/ 16408 h 3529657"/>
              <a:gd name="connsiteX6" fmla="*/ 3038094 w 3641079"/>
              <a:gd name="connsiteY6" fmla="*/ 459107 h 3529657"/>
              <a:gd name="connsiteX7" fmla="*/ 3545499 w 3641079"/>
              <a:gd name="connsiteY7" fmla="*/ 1124504 h 3529657"/>
              <a:gd name="connsiteX8" fmla="*/ 3542782 w 3641079"/>
              <a:gd name="connsiteY8" fmla="*/ 2176878 h 3529657"/>
              <a:gd name="connsiteX9" fmla="*/ 2678297 w 3641079"/>
              <a:gd name="connsiteY9" fmla="*/ 2524430 h 3529657"/>
              <a:gd name="connsiteX10" fmla="*/ 2271690 w 3641079"/>
              <a:gd name="connsiteY10" fmla="*/ 3371835 h 3529657"/>
              <a:gd name="connsiteX11" fmla="*/ 1277856 w 3641079"/>
              <a:gd name="connsiteY11" fmla="*/ 3440963 h 3529657"/>
              <a:gd name="connsiteX12" fmla="*/ 768967 w 3641079"/>
              <a:gd name="connsiteY12" fmla="*/ 2488950 h 3529657"/>
              <a:gd name="connsiteX0" fmla="*/ 768967 w 3641079"/>
              <a:gd name="connsiteY0" fmla="*/ 2489860 h 3530567"/>
              <a:gd name="connsiteX1" fmla="*/ 12106 w 3641079"/>
              <a:gd name="connsiteY1" fmla="*/ 2119188 h 3530567"/>
              <a:gd name="connsiteX2" fmla="*/ 1171681 w 3641079"/>
              <a:gd name="connsiteY2" fmla="*/ 1421028 h 3530567"/>
              <a:gd name="connsiteX3" fmla="*/ 1358288 w 3641079"/>
              <a:gd name="connsiteY3" fmla="*/ 1215296 h 3530567"/>
              <a:gd name="connsiteX4" fmla="*/ 1552776 w 3641079"/>
              <a:gd name="connsiteY4" fmla="*/ 1064924 h 3530567"/>
              <a:gd name="connsiteX5" fmla="*/ 2266987 w 3641079"/>
              <a:gd name="connsiteY5" fmla="*/ 17318 h 3530567"/>
              <a:gd name="connsiteX6" fmla="*/ 3038094 w 3641079"/>
              <a:gd name="connsiteY6" fmla="*/ 460017 h 3530567"/>
              <a:gd name="connsiteX7" fmla="*/ 3545499 w 3641079"/>
              <a:gd name="connsiteY7" fmla="*/ 1125414 h 3530567"/>
              <a:gd name="connsiteX8" fmla="*/ 3542782 w 3641079"/>
              <a:gd name="connsiteY8" fmla="*/ 2177788 h 3530567"/>
              <a:gd name="connsiteX9" fmla="*/ 2678297 w 3641079"/>
              <a:gd name="connsiteY9" fmla="*/ 2525340 h 3530567"/>
              <a:gd name="connsiteX10" fmla="*/ 2271690 w 3641079"/>
              <a:gd name="connsiteY10" fmla="*/ 3372745 h 3530567"/>
              <a:gd name="connsiteX11" fmla="*/ 1277856 w 3641079"/>
              <a:gd name="connsiteY11" fmla="*/ 3441873 h 3530567"/>
              <a:gd name="connsiteX12" fmla="*/ 768967 w 3641079"/>
              <a:gd name="connsiteY12" fmla="*/ 2489860 h 3530567"/>
              <a:gd name="connsiteX0" fmla="*/ 768967 w 3641079"/>
              <a:gd name="connsiteY0" fmla="*/ 2066094 h 3106801"/>
              <a:gd name="connsiteX1" fmla="*/ 12106 w 3641079"/>
              <a:gd name="connsiteY1" fmla="*/ 1695422 h 3106801"/>
              <a:gd name="connsiteX2" fmla="*/ 1171681 w 3641079"/>
              <a:gd name="connsiteY2" fmla="*/ 997262 h 3106801"/>
              <a:gd name="connsiteX3" fmla="*/ 1358288 w 3641079"/>
              <a:gd name="connsiteY3" fmla="*/ 791530 h 3106801"/>
              <a:gd name="connsiteX4" fmla="*/ 1552776 w 3641079"/>
              <a:gd name="connsiteY4" fmla="*/ 641158 h 3106801"/>
              <a:gd name="connsiteX5" fmla="*/ 2147054 w 3641079"/>
              <a:gd name="connsiteY5" fmla="*/ 146609 h 3106801"/>
              <a:gd name="connsiteX6" fmla="*/ 3038094 w 3641079"/>
              <a:gd name="connsiteY6" fmla="*/ 36251 h 3106801"/>
              <a:gd name="connsiteX7" fmla="*/ 3545499 w 3641079"/>
              <a:gd name="connsiteY7" fmla="*/ 701648 h 3106801"/>
              <a:gd name="connsiteX8" fmla="*/ 3542782 w 3641079"/>
              <a:gd name="connsiteY8" fmla="*/ 1754022 h 3106801"/>
              <a:gd name="connsiteX9" fmla="*/ 2678297 w 3641079"/>
              <a:gd name="connsiteY9" fmla="*/ 2101574 h 3106801"/>
              <a:gd name="connsiteX10" fmla="*/ 2271690 w 3641079"/>
              <a:gd name="connsiteY10" fmla="*/ 2948979 h 3106801"/>
              <a:gd name="connsiteX11" fmla="*/ 1277856 w 3641079"/>
              <a:gd name="connsiteY11" fmla="*/ 3018107 h 3106801"/>
              <a:gd name="connsiteX12" fmla="*/ 768967 w 3641079"/>
              <a:gd name="connsiteY12" fmla="*/ 2066094 h 3106801"/>
              <a:gd name="connsiteX0" fmla="*/ 768967 w 3546672"/>
              <a:gd name="connsiteY0" fmla="*/ 2084962 h 3125669"/>
              <a:gd name="connsiteX1" fmla="*/ 12106 w 3546672"/>
              <a:gd name="connsiteY1" fmla="*/ 1714290 h 3125669"/>
              <a:gd name="connsiteX2" fmla="*/ 1171681 w 3546672"/>
              <a:gd name="connsiteY2" fmla="*/ 1016130 h 3125669"/>
              <a:gd name="connsiteX3" fmla="*/ 1358288 w 3546672"/>
              <a:gd name="connsiteY3" fmla="*/ 810398 h 3125669"/>
              <a:gd name="connsiteX4" fmla="*/ 1552776 w 3546672"/>
              <a:gd name="connsiteY4" fmla="*/ 660026 h 3125669"/>
              <a:gd name="connsiteX5" fmla="*/ 2147054 w 3546672"/>
              <a:gd name="connsiteY5" fmla="*/ 165477 h 3125669"/>
              <a:gd name="connsiteX6" fmla="*/ 3038094 w 3546672"/>
              <a:gd name="connsiteY6" fmla="*/ 55119 h 3125669"/>
              <a:gd name="connsiteX7" fmla="*/ 2991966 w 3546672"/>
              <a:gd name="connsiteY7" fmla="*/ 979761 h 3125669"/>
              <a:gd name="connsiteX8" fmla="*/ 3542782 w 3546672"/>
              <a:gd name="connsiteY8" fmla="*/ 1772890 h 3125669"/>
              <a:gd name="connsiteX9" fmla="*/ 2678297 w 3546672"/>
              <a:gd name="connsiteY9" fmla="*/ 2120442 h 3125669"/>
              <a:gd name="connsiteX10" fmla="*/ 2271690 w 3546672"/>
              <a:gd name="connsiteY10" fmla="*/ 2967847 h 3125669"/>
              <a:gd name="connsiteX11" fmla="*/ 1277856 w 3546672"/>
              <a:gd name="connsiteY11" fmla="*/ 3036975 h 3125669"/>
              <a:gd name="connsiteX12" fmla="*/ 768967 w 3546672"/>
              <a:gd name="connsiteY12" fmla="*/ 2084962 h 3125669"/>
              <a:gd name="connsiteX0" fmla="*/ 768967 w 3076498"/>
              <a:gd name="connsiteY0" fmla="*/ 2084962 h 3125669"/>
              <a:gd name="connsiteX1" fmla="*/ 12106 w 3076498"/>
              <a:gd name="connsiteY1" fmla="*/ 1714290 h 3125669"/>
              <a:gd name="connsiteX2" fmla="*/ 1171681 w 3076498"/>
              <a:gd name="connsiteY2" fmla="*/ 1016130 h 3125669"/>
              <a:gd name="connsiteX3" fmla="*/ 1358288 w 3076498"/>
              <a:gd name="connsiteY3" fmla="*/ 810398 h 3125669"/>
              <a:gd name="connsiteX4" fmla="*/ 1552776 w 3076498"/>
              <a:gd name="connsiteY4" fmla="*/ 660026 h 3125669"/>
              <a:gd name="connsiteX5" fmla="*/ 2147054 w 3076498"/>
              <a:gd name="connsiteY5" fmla="*/ 165477 h 3125669"/>
              <a:gd name="connsiteX6" fmla="*/ 3038094 w 3076498"/>
              <a:gd name="connsiteY6" fmla="*/ 55119 h 3125669"/>
              <a:gd name="connsiteX7" fmla="*/ 2991966 w 3076498"/>
              <a:gd name="connsiteY7" fmla="*/ 979761 h 3125669"/>
              <a:gd name="connsiteX8" fmla="*/ 2980023 w 3076498"/>
              <a:gd name="connsiteY8" fmla="*/ 1660551 h 3125669"/>
              <a:gd name="connsiteX9" fmla="*/ 2678297 w 3076498"/>
              <a:gd name="connsiteY9" fmla="*/ 2120442 h 3125669"/>
              <a:gd name="connsiteX10" fmla="*/ 2271690 w 3076498"/>
              <a:gd name="connsiteY10" fmla="*/ 2967847 h 3125669"/>
              <a:gd name="connsiteX11" fmla="*/ 1277856 w 3076498"/>
              <a:gd name="connsiteY11" fmla="*/ 3036975 h 3125669"/>
              <a:gd name="connsiteX12" fmla="*/ 768967 w 3076498"/>
              <a:gd name="connsiteY12" fmla="*/ 2084962 h 3125669"/>
              <a:gd name="connsiteX0" fmla="*/ 768967 w 3076497"/>
              <a:gd name="connsiteY0" fmla="*/ 2084962 h 3041129"/>
              <a:gd name="connsiteX1" fmla="*/ 12106 w 3076497"/>
              <a:gd name="connsiteY1" fmla="*/ 1714290 h 3041129"/>
              <a:gd name="connsiteX2" fmla="*/ 1171681 w 3076497"/>
              <a:gd name="connsiteY2" fmla="*/ 1016130 h 3041129"/>
              <a:gd name="connsiteX3" fmla="*/ 1358288 w 3076497"/>
              <a:gd name="connsiteY3" fmla="*/ 810398 h 3041129"/>
              <a:gd name="connsiteX4" fmla="*/ 1552776 w 3076497"/>
              <a:gd name="connsiteY4" fmla="*/ 660026 h 3041129"/>
              <a:gd name="connsiteX5" fmla="*/ 2147054 w 3076497"/>
              <a:gd name="connsiteY5" fmla="*/ 165477 h 3041129"/>
              <a:gd name="connsiteX6" fmla="*/ 3038094 w 3076497"/>
              <a:gd name="connsiteY6" fmla="*/ 55119 h 3041129"/>
              <a:gd name="connsiteX7" fmla="*/ 2991966 w 3076497"/>
              <a:gd name="connsiteY7" fmla="*/ 979761 h 3041129"/>
              <a:gd name="connsiteX8" fmla="*/ 2980023 w 3076497"/>
              <a:gd name="connsiteY8" fmla="*/ 1660551 h 3041129"/>
              <a:gd name="connsiteX9" fmla="*/ 2678297 w 3076497"/>
              <a:gd name="connsiteY9" fmla="*/ 2120442 h 3041129"/>
              <a:gd name="connsiteX10" fmla="*/ 2160982 w 3076497"/>
              <a:gd name="connsiteY10" fmla="*/ 2414792 h 3041129"/>
              <a:gd name="connsiteX11" fmla="*/ 1277856 w 3076497"/>
              <a:gd name="connsiteY11" fmla="*/ 3036975 h 3041129"/>
              <a:gd name="connsiteX12" fmla="*/ 768967 w 3076497"/>
              <a:gd name="connsiteY12" fmla="*/ 2084962 h 3041129"/>
              <a:gd name="connsiteX0" fmla="*/ 768967 w 3076497"/>
              <a:gd name="connsiteY0" fmla="*/ 2084962 h 3041129"/>
              <a:gd name="connsiteX1" fmla="*/ 12106 w 3076497"/>
              <a:gd name="connsiteY1" fmla="*/ 1714290 h 3041129"/>
              <a:gd name="connsiteX2" fmla="*/ 1171681 w 3076497"/>
              <a:gd name="connsiteY2" fmla="*/ 1016130 h 3041129"/>
              <a:gd name="connsiteX3" fmla="*/ 1358288 w 3076497"/>
              <a:gd name="connsiteY3" fmla="*/ 810398 h 3041129"/>
              <a:gd name="connsiteX4" fmla="*/ 1552776 w 3076497"/>
              <a:gd name="connsiteY4" fmla="*/ 660026 h 3041129"/>
              <a:gd name="connsiteX5" fmla="*/ 2147054 w 3076497"/>
              <a:gd name="connsiteY5" fmla="*/ 165477 h 3041129"/>
              <a:gd name="connsiteX6" fmla="*/ 3038094 w 3076497"/>
              <a:gd name="connsiteY6" fmla="*/ 55119 h 3041129"/>
              <a:gd name="connsiteX7" fmla="*/ 2991966 w 3076497"/>
              <a:gd name="connsiteY7" fmla="*/ 979761 h 3041129"/>
              <a:gd name="connsiteX8" fmla="*/ 2980023 w 3076497"/>
              <a:gd name="connsiteY8" fmla="*/ 1660551 h 3041129"/>
              <a:gd name="connsiteX9" fmla="*/ 2678297 w 3076497"/>
              <a:gd name="connsiteY9" fmla="*/ 2120442 h 3041129"/>
              <a:gd name="connsiteX10" fmla="*/ 2160982 w 3076497"/>
              <a:gd name="connsiteY10" fmla="*/ 2414792 h 3041129"/>
              <a:gd name="connsiteX11" fmla="*/ 1277856 w 3076497"/>
              <a:gd name="connsiteY11" fmla="*/ 3036975 h 3041129"/>
              <a:gd name="connsiteX12" fmla="*/ 768967 w 3076497"/>
              <a:gd name="connsiteY12" fmla="*/ 2084962 h 3041129"/>
              <a:gd name="connsiteX0" fmla="*/ 768967 w 3076497"/>
              <a:gd name="connsiteY0" fmla="*/ 2084962 h 2525700"/>
              <a:gd name="connsiteX1" fmla="*/ 12106 w 3076497"/>
              <a:gd name="connsiteY1" fmla="*/ 1714290 h 2525700"/>
              <a:gd name="connsiteX2" fmla="*/ 1171681 w 3076497"/>
              <a:gd name="connsiteY2" fmla="*/ 1016130 h 2525700"/>
              <a:gd name="connsiteX3" fmla="*/ 1358288 w 3076497"/>
              <a:gd name="connsiteY3" fmla="*/ 810398 h 2525700"/>
              <a:gd name="connsiteX4" fmla="*/ 1552776 w 3076497"/>
              <a:gd name="connsiteY4" fmla="*/ 660026 h 2525700"/>
              <a:gd name="connsiteX5" fmla="*/ 2147054 w 3076497"/>
              <a:gd name="connsiteY5" fmla="*/ 165477 h 2525700"/>
              <a:gd name="connsiteX6" fmla="*/ 3038094 w 3076497"/>
              <a:gd name="connsiteY6" fmla="*/ 55119 h 2525700"/>
              <a:gd name="connsiteX7" fmla="*/ 2991966 w 3076497"/>
              <a:gd name="connsiteY7" fmla="*/ 979761 h 2525700"/>
              <a:gd name="connsiteX8" fmla="*/ 2980023 w 3076497"/>
              <a:gd name="connsiteY8" fmla="*/ 1660551 h 2525700"/>
              <a:gd name="connsiteX9" fmla="*/ 2678297 w 3076497"/>
              <a:gd name="connsiteY9" fmla="*/ 2120442 h 2525700"/>
              <a:gd name="connsiteX10" fmla="*/ 2160982 w 3076497"/>
              <a:gd name="connsiteY10" fmla="*/ 2414792 h 2525700"/>
              <a:gd name="connsiteX11" fmla="*/ 1314758 w 3076497"/>
              <a:gd name="connsiteY11" fmla="*/ 2466636 h 2525700"/>
              <a:gd name="connsiteX12" fmla="*/ 768967 w 3076497"/>
              <a:gd name="connsiteY12" fmla="*/ 2084962 h 2525700"/>
              <a:gd name="connsiteX0" fmla="*/ 443060 w 3091936"/>
              <a:gd name="connsiteY0" fmla="*/ 2534319 h 2579521"/>
              <a:gd name="connsiteX1" fmla="*/ 27545 w 3091936"/>
              <a:gd name="connsiteY1" fmla="*/ 1714290 h 2579521"/>
              <a:gd name="connsiteX2" fmla="*/ 1187120 w 3091936"/>
              <a:gd name="connsiteY2" fmla="*/ 1016130 h 2579521"/>
              <a:gd name="connsiteX3" fmla="*/ 1373727 w 3091936"/>
              <a:gd name="connsiteY3" fmla="*/ 810398 h 2579521"/>
              <a:gd name="connsiteX4" fmla="*/ 1568215 w 3091936"/>
              <a:gd name="connsiteY4" fmla="*/ 660026 h 2579521"/>
              <a:gd name="connsiteX5" fmla="*/ 2162493 w 3091936"/>
              <a:gd name="connsiteY5" fmla="*/ 165477 h 2579521"/>
              <a:gd name="connsiteX6" fmla="*/ 3053533 w 3091936"/>
              <a:gd name="connsiteY6" fmla="*/ 55119 h 2579521"/>
              <a:gd name="connsiteX7" fmla="*/ 3007405 w 3091936"/>
              <a:gd name="connsiteY7" fmla="*/ 979761 h 2579521"/>
              <a:gd name="connsiteX8" fmla="*/ 2995462 w 3091936"/>
              <a:gd name="connsiteY8" fmla="*/ 1660551 h 2579521"/>
              <a:gd name="connsiteX9" fmla="*/ 2693736 w 3091936"/>
              <a:gd name="connsiteY9" fmla="*/ 2120442 h 2579521"/>
              <a:gd name="connsiteX10" fmla="*/ 2176421 w 3091936"/>
              <a:gd name="connsiteY10" fmla="*/ 2414792 h 2579521"/>
              <a:gd name="connsiteX11" fmla="*/ 1330197 w 3091936"/>
              <a:gd name="connsiteY11" fmla="*/ 2466636 h 2579521"/>
              <a:gd name="connsiteX12" fmla="*/ 443060 w 3091936"/>
              <a:gd name="connsiteY12" fmla="*/ 2534319 h 2579521"/>
              <a:gd name="connsiteX0" fmla="*/ 443060 w 3091936"/>
              <a:gd name="connsiteY0" fmla="*/ 2534319 h 2594242"/>
              <a:gd name="connsiteX1" fmla="*/ 27545 w 3091936"/>
              <a:gd name="connsiteY1" fmla="*/ 1714290 h 2594242"/>
              <a:gd name="connsiteX2" fmla="*/ 1187120 w 3091936"/>
              <a:gd name="connsiteY2" fmla="*/ 1016130 h 2594242"/>
              <a:gd name="connsiteX3" fmla="*/ 1373727 w 3091936"/>
              <a:gd name="connsiteY3" fmla="*/ 810398 h 2594242"/>
              <a:gd name="connsiteX4" fmla="*/ 1568215 w 3091936"/>
              <a:gd name="connsiteY4" fmla="*/ 660026 h 2594242"/>
              <a:gd name="connsiteX5" fmla="*/ 2162493 w 3091936"/>
              <a:gd name="connsiteY5" fmla="*/ 165477 h 2594242"/>
              <a:gd name="connsiteX6" fmla="*/ 3053533 w 3091936"/>
              <a:gd name="connsiteY6" fmla="*/ 55119 h 2594242"/>
              <a:gd name="connsiteX7" fmla="*/ 3007405 w 3091936"/>
              <a:gd name="connsiteY7" fmla="*/ 979761 h 2594242"/>
              <a:gd name="connsiteX8" fmla="*/ 2995462 w 3091936"/>
              <a:gd name="connsiteY8" fmla="*/ 1660551 h 2594242"/>
              <a:gd name="connsiteX9" fmla="*/ 2693736 w 3091936"/>
              <a:gd name="connsiteY9" fmla="*/ 2120442 h 2594242"/>
              <a:gd name="connsiteX10" fmla="*/ 2019587 w 3091936"/>
              <a:gd name="connsiteY10" fmla="*/ 1948151 h 2594242"/>
              <a:gd name="connsiteX11" fmla="*/ 1330197 w 3091936"/>
              <a:gd name="connsiteY11" fmla="*/ 2466636 h 2594242"/>
              <a:gd name="connsiteX12" fmla="*/ 443060 w 3091936"/>
              <a:gd name="connsiteY12" fmla="*/ 2534319 h 2594242"/>
              <a:gd name="connsiteX0" fmla="*/ 443060 w 3091936"/>
              <a:gd name="connsiteY0" fmla="*/ 2534319 h 2594242"/>
              <a:gd name="connsiteX1" fmla="*/ 27545 w 3091936"/>
              <a:gd name="connsiteY1" fmla="*/ 1714290 h 2594242"/>
              <a:gd name="connsiteX2" fmla="*/ 1187120 w 3091936"/>
              <a:gd name="connsiteY2" fmla="*/ 1016130 h 2594242"/>
              <a:gd name="connsiteX3" fmla="*/ 1373727 w 3091936"/>
              <a:gd name="connsiteY3" fmla="*/ 810398 h 2594242"/>
              <a:gd name="connsiteX4" fmla="*/ 1568215 w 3091936"/>
              <a:gd name="connsiteY4" fmla="*/ 660026 h 2594242"/>
              <a:gd name="connsiteX5" fmla="*/ 2162493 w 3091936"/>
              <a:gd name="connsiteY5" fmla="*/ 165477 h 2594242"/>
              <a:gd name="connsiteX6" fmla="*/ 3053533 w 3091936"/>
              <a:gd name="connsiteY6" fmla="*/ 55119 h 2594242"/>
              <a:gd name="connsiteX7" fmla="*/ 3007405 w 3091936"/>
              <a:gd name="connsiteY7" fmla="*/ 979761 h 2594242"/>
              <a:gd name="connsiteX8" fmla="*/ 2995462 w 3091936"/>
              <a:gd name="connsiteY8" fmla="*/ 1660551 h 2594242"/>
              <a:gd name="connsiteX9" fmla="*/ 2287812 w 3091936"/>
              <a:gd name="connsiteY9" fmla="*/ 1800706 h 2594242"/>
              <a:gd name="connsiteX10" fmla="*/ 2019587 w 3091936"/>
              <a:gd name="connsiteY10" fmla="*/ 1948151 h 2594242"/>
              <a:gd name="connsiteX11" fmla="*/ 1330197 w 3091936"/>
              <a:gd name="connsiteY11" fmla="*/ 2466636 h 2594242"/>
              <a:gd name="connsiteX12" fmla="*/ 443060 w 3091936"/>
              <a:gd name="connsiteY12" fmla="*/ 2534319 h 2594242"/>
              <a:gd name="connsiteX0" fmla="*/ 443060 w 3091936"/>
              <a:gd name="connsiteY0" fmla="*/ 2534319 h 2594242"/>
              <a:gd name="connsiteX1" fmla="*/ 27545 w 3091936"/>
              <a:gd name="connsiteY1" fmla="*/ 1714290 h 2594242"/>
              <a:gd name="connsiteX2" fmla="*/ 1187120 w 3091936"/>
              <a:gd name="connsiteY2" fmla="*/ 1016130 h 2594242"/>
              <a:gd name="connsiteX3" fmla="*/ 1373727 w 3091936"/>
              <a:gd name="connsiteY3" fmla="*/ 810398 h 2594242"/>
              <a:gd name="connsiteX4" fmla="*/ 1568215 w 3091936"/>
              <a:gd name="connsiteY4" fmla="*/ 660026 h 2594242"/>
              <a:gd name="connsiteX5" fmla="*/ 2162493 w 3091936"/>
              <a:gd name="connsiteY5" fmla="*/ 165477 h 2594242"/>
              <a:gd name="connsiteX6" fmla="*/ 3053533 w 3091936"/>
              <a:gd name="connsiteY6" fmla="*/ 55119 h 2594242"/>
              <a:gd name="connsiteX7" fmla="*/ 3007405 w 3091936"/>
              <a:gd name="connsiteY7" fmla="*/ 979761 h 2594242"/>
              <a:gd name="connsiteX8" fmla="*/ 2441929 w 3091936"/>
              <a:gd name="connsiteY8" fmla="*/ 1582777 h 2594242"/>
              <a:gd name="connsiteX9" fmla="*/ 2287812 w 3091936"/>
              <a:gd name="connsiteY9" fmla="*/ 1800706 h 2594242"/>
              <a:gd name="connsiteX10" fmla="*/ 2019587 w 3091936"/>
              <a:gd name="connsiteY10" fmla="*/ 1948151 h 2594242"/>
              <a:gd name="connsiteX11" fmla="*/ 1330197 w 3091936"/>
              <a:gd name="connsiteY11" fmla="*/ 2466636 h 2594242"/>
              <a:gd name="connsiteX12" fmla="*/ 443060 w 3091936"/>
              <a:gd name="connsiteY12" fmla="*/ 2534319 h 2594242"/>
              <a:gd name="connsiteX0" fmla="*/ 443060 w 3091936"/>
              <a:gd name="connsiteY0" fmla="*/ 2534319 h 2592610"/>
              <a:gd name="connsiteX1" fmla="*/ 27545 w 3091936"/>
              <a:gd name="connsiteY1" fmla="*/ 1714290 h 2592610"/>
              <a:gd name="connsiteX2" fmla="*/ 1187120 w 3091936"/>
              <a:gd name="connsiteY2" fmla="*/ 1016130 h 2592610"/>
              <a:gd name="connsiteX3" fmla="*/ 1373727 w 3091936"/>
              <a:gd name="connsiteY3" fmla="*/ 810398 h 2592610"/>
              <a:gd name="connsiteX4" fmla="*/ 1568215 w 3091936"/>
              <a:gd name="connsiteY4" fmla="*/ 660026 h 2592610"/>
              <a:gd name="connsiteX5" fmla="*/ 2162493 w 3091936"/>
              <a:gd name="connsiteY5" fmla="*/ 165477 h 2592610"/>
              <a:gd name="connsiteX6" fmla="*/ 3053533 w 3091936"/>
              <a:gd name="connsiteY6" fmla="*/ 55119 h 2592610"/>
              <a:gd name="connsiteX7" fmla="*/ 3007405 w 3091936"/>
              <a:gd name="connsiteY7" fmla="*/ 979761 h 2592610"/>
              <a:gd name="connsiteX8" fmla="*/ 2441929 w 3091936"/>
              <a:gd name="connsiteY8" fmla="*/ 1582777 h 2592610"/>
              <a:gd name="connsiteX9" fmla="*/ 2287812 w 3091936"/>
              <a:gd name="connsiteY9" fmla="*/ 1800706 h 2592610"/>
              <a:gd name="connsiteX10" fmla="*/ 2019587 w 3091936"/>
              <a:gd name="connsiteY10" fmla="*/ 1991358 h 2592610"/>
              <a:gd name="connsiteX11" fmla="*/ 1330197 w 3091936"/>
              <a:gd name="connsiteY11" fmla="*/ 2466636 h 2592610"/>
              <a:gd name="connsiteX12" fmla="*/ 443060 w 3091936"/>
              <a:gd name="connsiteY12" fmla="*/ 2534319 h 2592610"/>
              <a:gd name="connsiteX0" fmla="*/ 443060 w 3091936"/>
              <a:gd name="connsiteY0" fmla="*/ 2534319 h 2592610"/>
              <a:gd name="connsiteX1" fmla="*/ 27545 w 3091936"/>
              <a:gd name="connsiteY1" fmla="*/ 1714290 h 2592610"/>
              <a:gd name="connsiteX2" fmla="*/ 1187120 w 3091936"/>
              <a:gd name="connsiteY2" fmla="*/ 1016130 h 2592610"/>
              <a:gd name="connsiteX3" fmla="*/ 1373727 w 3091936"/>
              <a:gd name="connsiteY3" fmla="*/ 810398 h 2592610"/>
              <a:gd name="connsiteX4" fmla="*/ 1568215 w 3091936"/>
              <a:gd name="connsiteY4" fmla="*/ 660026 h 2592610"/>
              <a:gd name="connsiteX5" fmla="*/ 2162493 w 3091936"/>
              <a:gd name="connsiteY5" fmla="*/ 165477 h 2592610"/>
              <a:gd name="connsiteX6" fmla="*/ 3053533 w 3091936"/>
              <a:gd name="connsiteY6" fmla="*/ 55119 h 2592610"/>
              <a:gd name="connsiteX7" fmla="*/ 3007405 w 3091936"/>
              <a:gd name="connsiteY7" fmla="*/ 979761 h 2592610"/>
              <a:gd name="connsiteX8" fmla="*/ 2441929 w 3091936"/>
              <a:gd name="connsiteY8" fmla="*/ 1582777 h 2592610"/>
              <a:gd name="connsiteX9" fmla="*/ 2260135 w 3091936"/>
              <a:gd name="connsiteY9" fmla="*/ 1766139 h 2592610"/>
              <a:gd name="connsiteX10" fmla="*/ 2019587 w 3091936"/>
              <a:gd name="connsiteY10" fmla="*/ 1991358 h 2592610"/>
              <a:gd name="connsiteX11" fmla="*/ 1330197 w 3091936"/>
              <a:gd name="connsiteY11" fmla="*/ 2466636 h 2592610"/>
              <a:gd name="connsiteX12" fmla="*/ 443060 w 3091936"/>
              <a:gd name="connsiteY12" fmla="*/ 2534319 h 2592610"/>
              <a:gd name="connsiteX0" fmla="*/ 443060 w 3091936"/>
              <a:gd name="connsiteY0" fmla="*/ 2534319 h 2592610"/>
              <a:gd name="connsiteX1" fmla="*/ 27545 w 3091936"/>
              <a:gd name="connsiteY1" fmla="*/ 1714290 h 2592610"/>
              <a:gd name="connsiteX2" fmla="*/ 1187120 w 3091936"/>
              <a:gd name="connsiteY2" fmla="*/ 1016130 h 2592610"/>
              <a:gd name="connsiteX3" fmla="*/ 1373727 w 3091936"/>
              <a:gd name="connsiteY3" fmla="*/ 810398 h 2592610"/>
              <a:gd name="connsiteX4" fmla="*/ 1568215 w 3091936"/>
              <a:gd name="connsiteY4" fmla="*/ 660026 h 2592610"/>
              <a:gd name="connsiteX5" fmla="*/ 2162493 w 3091936"/>
              <a:gd name="connsiteY5" fmla="*/ 165477 h 2592610"/>
              <a:gd name="connsiteX6" fmla="*/ 3053533 w 3091936"/>
              <a:gd name="connsiteY6" fmla="*/ 55119 h 2592610"/>
              <a:gd name="connsiteX7" fmla="*/ 3007405 w 3091936"/>
              <a:gd name="connsiteY7" fmla="*/ 979761 h 2592610"/>
              <a:gd name="connsiteX8" fmla="*/ 2441929 w 3091936"/>
              <a:gd name="connsiteY8" fmla="*/ 1582777 h 2592610"/>
              <a:gd name="connsiteX9" fmla="*/ 2260135 w 3091936"/>
              <a:gd name="connsiteY9" fmla="*/ 1766139 h 2592610"/>
              <a:gd name="connsiteX10" fmla="*/ 2019587 w 3091936"/>
              <a:gd name="connsiteY10" fmla="*/ 1991358 h 2592610"/>
              <a:gd name="connsiteX11" fmla="*/ 1330197 w 3091936"/>
              <a:gd name="connsiteY11" fmla="*/ 2466636 h 2592610"/>
              <a:gd name="connsiteX12" fmla="*/ 443060 w 3091936"/>
              <a:gd name="connsiteY12" fmla="*/ 2534319 h 2592610"/>
              <a:gd name="connsiteX0" fmla="*/ 443060 w 3091936"/>
              <a:gd name="connsiteY0" fmla="*/ 2534319 h 2593582"/>
              <a:gd name="connsiteX1" fmla="*/ 27545 w 3091936"/>
              <a:gd name="connsiteY1" fmla="*/ 1714290 h 2593582"/>
              <a:gd name="connsiteX2" fmla="*/ 1187120 w 3091936"/>
              <a:gd name="connsiteY2" fmla="*/ 1016130 h 2593582"/>
              <a:gd name="connsiteX3" fmla="*/ 1373727 w 3091936"/>
              <a:gd name="connsiteY3" fmla="*/ 810398 h 2593582"/>
              <a:gd name="connsiteX4" fmla="*/ 1568215 w 3091936"/>
              <a:gd name="connsiteY4" fmla="*/ 660026 h 2593582"/>
              <a:gd name="connsiteX5" fmla="*/ 2162493 w 3091936"/>
              <a:gd name="connsiteY5" fmla="*/ 165477 h 2593582"/>
              <a:gd name="connsiteX6" fmla="*/ 3053533 w 3091936"/>
              <a:gd name="connsiteY6" fmla="*/ 55119 h 2593582"/>
              <a:gd name="connsiteX7" fmla="*/ 3007405 w 3091936"/>
              <a:gd name="connsiteY7" fmla="*/ 979761 h 2593582"/>
              <a:gd name="connsiteX8" fmla="*/ 2441929 w 3091936"/>
              <a:gd name="connsiteY8" fmla="*/ 1582777 h 2593582"/>
              <a:gd name="connsiteX9" fmla="*/ 2260135 w 3091936"/>
              <a:gd name="connsiteY9" fmla="*/ 1766139 h 2593582"/>
              <a:gd name="connsiteX10" fmla="*/ 2084166 w 3091936"/>
              <a:gd name="connsiteY10" fmla="*/ 1965434 h 2593582"/>
              <a:gd name="connsiteX11" fmla="*/ 1330197 w 3091936"/>
              <a:gd name="connsiteY11" fmla="*/ 2466636 h 2593582"/>
              <a:gd name="connsiteX12" fmla="*/ 443060 w 3091936"/>
              <a:gd name="connsiteY12" fmla="*/ 2534319 h 2593582"/>
              <a:gd name="connsiteX0" fmla="*/ 443060 w 3091936"/>
              <a:gd name="connsiteY0" fmla="*/ 2534319 h 2593582"/>
              <a:gd name="connsiteX1" fmla="*/ 27545 w 3091936"/>
              <a:gd name="connsiteY1" fmla="*/ 1714290 h 2593582"/>
              <a:gd name="connsiteX2" fmla="*/ 1187120 w 3091936"/>
              <a:gd name="connsiteY2" fmla="*/ 1016130 h 2593582"/>
              <a:gd name="connsiteX3" fmla="*/ 1373727 w 3091936"/>
              <a:gd name="connsiteY3" fmla="*/ 810398 h 2593582"/>
              <a:gd name="connsiteX4" fmla="*/ 1568215 w 3091936"/>
              <a:gd name="connsiteY4" fmla="*/ 660026 h 2593582"/>
              <a:gd name="connsiteX5" fmla="*/ 2162493 w 3091936"/>
              <a:gd name="connsiteY5" fmla="*/ 165477 h 2593582"/>
              <a:gd name="connsiteX6" fmla="*/ 3053533 w 3091936"/>
              <a:gd name="connsiteY6" fmla="*/ 55119 h 2593582"/>
              <a:gd name="connsiteX7" fmla="*/ 3007405 w 3091936"/>
              <a:gd name="connsiteY7" fmla="*/ 979761 h 2593582"/>
              <a:gd name="connsiteX8" fmla="*/ 2441929 w 3091936"/>
              <a:gd name="connsiteY8" fmla="*/ 1582777 h 2593582"/>
              <a:gd name="connsiteX9" fmla="*/ 2260135 w 3091936"/>
              <a:gd name="connsiteY9" fmla="*/ 1766139 h 2593582"/>
              <a:gd name="connsiteX10" fmla="*/ 2074940 w 3091936"/>
              <a:gd name="connsiteY10" fmla="*/ 1965434 h 2593582"/>
              <a:gd name="connsiteX11" fmla="*/ 1330197 w 3091936"/>
              <a:gd name="connsiteY11" fmla="*/ 2466636 h 2593582"/>
              <a:gd name="connsiteX12" fmla="*/ 443060 w 3091936"/>
              <a:gd name="connsiteY12" fmla="*/ 2534319 h 2593582"/>
              <a:gd name="connsiteX0" fmla="*/ 443060 w 3091936"/>
              <a:gd name="connsiteY0" fmla="*/ 2534319 h 2593582"/>
              <a:gd name="connsiteX1" fmla="*/ 27545 w 3091936"/>
              <a:gd name="connsiteY1" fmla="*/ 1714290 h 2593582"/>
              <a:gd name="connsiteX2" fmla="*/ 1187120 w 3091936"/>
              <a:gd name="connsiteY2" fmla="*/ 1016130 h 2593582"/>
              <a:gd name="connsiteX3" fmla="*/ 1373727 w 3091936"/>
              <a:gd name="connsiteY3" fmla="*/ 810398 h 2593582"/>
              <a:gd name="connsiteX4" fmla="*/ 1568215 w 3091936"/>
              <a:gd name="connsiteY4" fmla="*/ 660026 h 2593582"/>
              <a:gd name="connsiteX5" fmla="*/ 2162493 w 3091936"/>
              <a:gd name="connsiteY5" fmla="*/ 165477 h 2593582"/>
              <a:gd name="connsiteX6" fmla="*/ 3053533 w 3091936"/>
              <a:gd name="connsiteY6" fmla="*/ 55119 h 2593582"/>
              <a:gd name="connsiteX7" fmla="*/ 3007405 w 3091936"/>
              <a:gd name="connsiteY7" fmla="*/ 979761 h 2593582"/>
              <a:gd name="connsiteX8" fmla="*/ 2441929 w 3091936"/>
              <a:gd name="connsiteY8" fmla="*/ 1582777 h 2593582"/>
              <a:gd name="connsiteX9" fmla="*/ 2260135 w 3091936"/>
              <a:gd name="connsiteY9" fmla="*/ 1766139 h 2593582"/>
              <a:gd name="connsiteX10" fmla="*/ 2074940 w 3091936"/>
              <a:gd name="connsiteY10" fmla="*/ 1965434 h 2593582"/>
              <a:gd name="connsiteX11" fmla="*/ 1330197 w 3091936"/>
              <a:gd name="connsiteY11" fmla="*/ 2466636 h 2593582"/>
              <a:gd name="connsiteX12" fmla="*/ 443060 w 3091936"/>
              <a:gd name="connsiteY12" fmla="*/ 2534319 h 2593582"/>
              <a:gd name="connsiteX0" fmla="*/ 443060 w 3091936"/>
              <a:gd name="connsiteY0" fmla="*/ 2534319 h 2593582"/>
              <a:gd name="connsiteX1" fmla="*/ 27545 w 3091936"/>
              <a:gd name="connsiteY1" fmla="*/ 1714290 h 2593582"/>
              <a:gd name="connsiteX2" fmla="*/ 1187120 w 3091936"/>
              <a:gd name="connsiteY2" fmla="*/ 1016130 h 2593582"/>
              <a:gd name="connsiteX3" fmla="*/ 1373727 w 3091936"/>
              <a:gd name="connsiteY3" fmla="*/ 810398 h 2593582"/>
              <a:gd name="connsiteX4" fmla="*/ 1568215 w 3091936"/>
              <a:gd name="connsiteY4" fmla="*/ 660026 h 2593582"/>
              <a:gd name="connsiteX5" fmla="*/ 2162493 w 3091936"/>
              <a:gd name="connsiteY5" fmla="*/ 165477 h 2593582"/>
              <a:gd name="connsiteX6" fmla="*/ 3053533 w 3091936"/>
              <a:gd name="connsiteY6" fmla="*/ 55119 h 2593582"/>
              <a:gd name="connsiteX7" fmla="*/ 3007405 w 3091936"/>
              <a:gd name="connsiteY7" fmla="*/ 979761 h 2593582"/>
              <a:gd name="connsiteX8" fmla="*/ 2441929 w 3091936"/>
              <a:gd name="connsiteY8" fmla="*/ 1582777 h 2593582"/>
              <a:gd name="connsiteX9" fmla="*/ 2260135 w 3091936"/>
              <a:gd name="connsiteY9" fmla="*/ 1766139 h 2593582"/>
              <a:gd name="connsiteX10" fmla="*/ 2074940 w 3091936"/>
              <a:gd name="connsiteY10" fmla="*/ 1965434 h 2593582"/>
              <a:gd name="connsiteX11" fmla="*/ 1330197 w 3091936"/>
              <a:gd name="connsiteY11" fmla="*/ 2466636 h 2593582"/>
              <a:gd name="connsiteX12" fmla="*/ 443060 w 3091936"/>
              <a:gd name="connsiteY12" fmla="*/ 2534319 h 2593582"/>
              <a:gd name="connsiteX0" fmla="*/ 443060 w 3091936"/>
              <a:gd name="connsiteY0" fmla="*/ 2534319 h 2593582"/>
              <a:gd name="connsiteX1" fmla="*/ 27545 w 3091936"/>
              <a:gd name="connsiteY1" fmla="*/ 1714290 h 2593582"/>
              <a:gd name="connsiteX2" fmla="*/ 1187120 w 3091936"/>
              <a:gd name="connsiteY2" fmla="*/ 1016130 h 2593582"/>
              <a:gd name="connsiteX3" fmla="*/ 1373727 w 3091936"/>
              <a:gd name="connsiteY3" fmla="*/ 810398 h 2593582"/>
              <a:gd name="connsiteX4" fmla="*/ 1568215 w 3091936"/>
              <a:gd name="connsiteY4" fmla="*/ 660026 h 2593582"/>
              <a:gd name="connsiteX5" fmla="*/ 2162493 w 3091936"/>
              <a:gd name="connsiteY5" fmla="*/ 165477 h 2593582"/>
              <a:gd name="connsiteX6" fmla="*/ 3053533 w 3091936"/>
              <a:gd name="connsiteY6" fmla="*/ 55119 h 2593582"/>
              <a:gd name="connsiteX7" fmla="*/ 3007405 w 3091936"/>
              <a:gd name="connsiteY7" fmla="*/ 979761 h 2593582"/>
              <a:gd name="connsiteX8" fmla="*/ 2441929 w 3091936"/>
              <a:gd name="connsiteY8" fmla="*/ 1582777 h 2593582"/>
              <a:gd name="connsiteX9" fmla="*/ 2260135 w 3091936"/>
              <a:gd name="connsiteY9" fmla="*/ 1766139 h 2593582"/>
              <a:gd name="connsiteX10" fmla="*/ 2074940 w 3091936"/>
              <a:gd name="connsiteY10" fmla="*/ 1965434 h 2593582"/>
              <a:gd name="connsiteX11" fmla="*/ 1330197 w 3091936"/>
              <a:gd name="connsiteY11" fmla="*/ 2466636 h 2593582"/>
              <a:gd name="connsiteX12" fmla="*/ 443060 w 3091936"/>
              <a:gd name="connsiteY12" fmla="*/ 2534319 h 2593582"/>
              <a:gd name="connsiteX0" fmla="*/ 443060 w 3091936"/>
              <a:gd name="connsiteY0" fmla="*/ 2534319 h 2593582"/>
              <a:gd name="connsiteX1" fmla="*/ 27545 w 3091936"/>
              <a:gd name="connsiteY1" fmla="*/ 1714290 h 2593582"/>
              <a:gd name="connsiteX2" fmla="*/ 1187120 w 3091936"/>
              <a:gd name="connsiteY2" fmla="*/ 1016130 h 2593582"/>
              <a:gd name="connsiteX3" fmla="*/ 1373727 w 3091936"/>
              <a:gd name="connsiteY3" fmla="*/ 810398 h 2593582"/>
              <a:gd name="connsiteX4" fmla="*/ 1568215 w 3091936"/>
              <a:gd name="connsiteY4" fmla="*/ 660026 h 2593582"/>
              <a:gd name="connsiteX5" fmla="*/ 2162493 w 3091936"/>
              <a:gd name="connsiteY5" fmla="*/ 165477 h 2593582"/>
              <a:gd name="connsiteX6" fmla="*/ 3053533 w 3091936"/>
              <a:gd name="connsiteY6" fmla="*/ 55119 h 2593582"/>
              <a:gd name="connsiteX7" fmla="*/ 3007405 w 3091936"/>
              <a:gd name="connsiteY7" fmla="*/ 979761 h 2593582"/>
              <a:gd name="connsiteX8" fmla="*/ 2441929 w 3091936"/>
              <a:gd name="connsiteY8" fmla="*/ 1582777 h 2593582"/>
              <a:gd name="connsiteX9" fmla="*/ 2260135 w 3091936"/>
              <a:gd name="connsiteY9" fmla="*/ 1766139 h 2593582"/>
              <a:gd name="connsiteX10" fmla="*/ 2074940 w 3091936"/>
              <a:gd name="connsiteY10" fmla="*/ 1965434 h 2593582"/>
              <a:gd name="connsiteX11" fmla="*/ 1330197 w 3091936"/>
              <a:gd name="connsiteY11" fmla="*/ 2466636 h 2593582"/>
              <a:gd name="connsiteX12" fmla="*/ 443060 w 3091936"/>
              <a:gd name="connsiteY12" fmla="*/ 2534319 h 2593582"/>
              <a:gd name="connsiteX0" fmla="*/ 443060 w 3091936"/>
              <a:gd name="connsiteY0" fmla="*/ 2534319 h 2593582"/>
              <a:gd name="connsiteX1" fmla="*/ 27545 w 3091936"/>
              <a:gd name="connsiteY1" fmla="*/ 1714290 h 2593582"/>
              <a:gd name="connsiteX2" fmla="*/ 1187120 w 3091936"/>
              <a:gd name="connsiteY2" fmla="*/ 1016130 h 2593582"/>
              <a:gd name="connsiteX3" fmla="*/ 1373727 w 3091936"/>
              <a:gd name="connsiteY3" fmla="*/ 810398 h 2593582"/>
              <a:gd name="connsiteX4" fmla="*/ 1568215 w 3091936"/>
              <a:gd name="connsiteY4" fmla="*/ 660026 h 2593582"/>
              <a:gd name="connsiteX5" fmla="*/ 2162493 w 3091936"/>
              <a:gd name="connsiteY5" fmla="*/ 165477 h 2593582"/>
              <a:gd name="connsiteX6" fmla="*/ 3053533 w 3091936"/>
              <a:gd name="connsiteY6" fmla="*/ 55119 h 2593582"/>
              <a:gd name="connsiteX7" fmla="*/ 3007405 w 3091936"/>
              <a:gd name="connsiteY7" fmla="*/ 979761 h 2593582"/>
              <a:gd name="connsiteX8" fmla="*/ 2441929 w 3091936"/>
              <a:gd name="connsiteY8" fmla="*/ 1582777 h 2593582"/>
              <a:gd name="connsiteX9" fmla="*/ 2260135 w 3091936"/>
              <a:gd name="connsiteY9" fmla="*/ 1766139 h 2593582"/>
              <a:gd name="connsiteX10" fmla="*/ 2074940 w 3091936"/>
              <a:gd name="connsiteY10" fmla="*/ 1965434 h 2593582"/>
              <a:gd name="connsiteX11" fmla="*/ 1330197 w 3091936"/>
              <a:gd name="connsiteY11" fmla="*/ 2466636 h 2593582"/>
              <a:gd name="connsiteX12" fmla="*/ 443060 w 3091936"/>
              <a:gd name="connsiteY12" fmla="*/ 2534319 h 2593582"/>
              <a:gd name="connsiteX0" fmla="*/ 443060 w 3091936"/>
              <a:gd name="connsiteY0" fmla="*/ 2534319 h 2593582"/>
              <a:gd name="connsiteX1" fmla="*/ 27545 w 3091936"/>
              <a:gd name="connsiteY1" fmla="*/ 1714290 h 2593582"/>
              <a:gd name="connsiteX2" fmla="*/ 1187120 w 3091936"/>
              <a:gd name="connsiteY2" fmla="*/ 1016130 h 2593582"/>
              <a:gd name="connsiteX3" fmla="*/ 1373727 w 3091936"/>
              <a:gd name="connsiteY3" fmla="*/ 810398 h 2593582"/>
              <a:gd name="connsiteX4" fmla="*/ 1568215 w 3091936"/>
              <a:gd name="connsiteY4" fmla="*/ 660026 h 2593582"/>
              <a:gd name="connsiteX5" fmla="*/ 2162493 w 3091936"/>
              <a:gd name="connsiteY5" fmla="*/ 165477 h 2593582"/>
              <a:gd name="connsiteX6" fmla="*/ 3053533 w 3091936"/>
              <a:gd name="connsiteY6" fmla="*/ 55119 h 2593582"/>
              <a:gd name="connsiteX7" fmla="*/ 3007405 w 3091936"/>
              <a:gd name="connsiteY7" fmla="*/ 979761 h 2593582"/>
              <a:gd name="connsiteX8" fmla="*/ 2497283 w 3091936"/>
              <a:gd name="connsiteY8" fmla="*/ 1530928 h 2593582"/>
              <a:gd name="connsiteX9" fmla="*/ 2260135 w 3091936"/>
              <a:gd name="connsiteY9" fmla="*/ 1766139 h 2593582"/>
              <a:gd name="connsiteX10" fmla="*/ 2074940 w 3091936"/>
              <a:gd name="connsiteY10" fmla="*/ 1965434 h 2593582"/>
              <a:gd name="connsiteX11" fmla="*/ 1330197 w 3091936"/>
              <a:gd name="connsiteY11" fmla="*/ 2466636 h 2593582"/>
              <a:gd name="connsiteX12" fmla="*/ 443060 w 3091936"/>
              <a:gd name="connsiteY12" fmla="*/ 2534319 h 2593582"/>
              <a:gd name="connsiteX0" fmla="*/ 443060 w 3091936"/>
              <a:gd name="connsiteY0" fmla="*/ 2534319 h 2593582"/>
              <a:gd name="connsiteX1" fmla="*/ 27545 w 3091936"/>
              <a:gd name="connsiteY1" fmla="*/ 1714290 h 2593582"/>
              <a:gd name="connsiteX2" fmla="*/ 1187120 w 3091936"/>
              <a:gd name="connsiteY2" fmla="*/ 1016130 h 2593582"/>
              <a:gd name="connsiteX3" fmla="*/ 1373727 w 3091936"/>
              <a:gd name="connsiteY3" fmla="*/ 810398 h 2593582"/>
              <a:gd name="connsiteX4" fmla="*/ 1568215 w 3091936"/>
              <a:gd name="connsiteY4" fmla="*/ 660026 h 2593582"/>
              <a:gd name="connsiteX5" fmla="*/ 2162493 w 3091936"/>
              <a:gd name="connsiteY5" fmla="*/ 165477 h 2593582"/>
              <a:gd name="connsiteX6" fmla="*/ 3053533 w 3091936"/>
              <a:gd name="connsiteY6" fmla="*/ 55119 h 2593582"/>
              <a:gd name="connsiteX7" fmla="*/ 3007405 w 3091936"/>
              <a:gd name="connsiteY7" fmla="*/ 979761 h 2593582"/>
              <a:gd name="connsiteX8" fmla="*/ 2497283 w 3091936"/>
              <a:gd name="connsiteY8" fmla="*/ 1530928 h 2593582"/>
              <a:gd name="connsiteX9" fmla="*/ 2306263 w 3091936"/>
              <a:gd name="connsiteY9" fmla="*/ 1731573 h 2593582"/>
              <a:gd name="connsiteX10" fmla="*/ 2074940 w 3091936"/>
              <a:gd name="connsiteY10" fmla="*/ 1965434 h 2593582"/>
              <a:gd name="connsiteX11" fmla="*/ 1330197 w 3091936"/>
              <a:gd name="connsiteY11" fmla="*/ 2466636 h 2593582"/>
              <a:gd name="connsiteX12" fmla="*/ 443060 w 3091936"/>
              <a:gd name="connsiteY12" fmla="*/ 2534319 h 2593582"/>
              <a:gd name="connsiteX0" fmla="*/ 65816 w 2714692"/>
              <a:gd name="connsiteY0" fmla="*/ 2534319 h 2602542"/>
              <a:gd name="connsiteX1" fmla="*/ 148482 w 2714692"/>
              <a:gd name="connsiteY1" fmla="*/ 1593309 h 2602542"/>
              <a:gd name="connsiteX2" fmla="*/ 809876 w 2714692"/>
              <a:gd name="connsiteY2" fmla="*/ 1016130 h 2602542"/>
              <a:gd name="connsiteX3" fmla="*/ 996483 w 2714692"/>
              <a:gd name="connsiteY3" fmla="*/ 810398 h 2602542"/>
              <a:gd name="connsiteX4" fmla="*/ 1190971 w 2714692"/>
              <a:gd name="connsiteY4" fmla="*/ 660026 h 2602542"/>
              <a:gd name="connsiteX5" fmla="*/ 1785249 w 2714692"/>
              <a:gd name="connsiteY5" fmla="*/ 165477 h 2602542"/>
              <a:gd name="connsiteX6" fmla="*/ 2676289 w 2714692"/>
              <a:gd name="connsiteY6" fmla="*/ 55119 h 2602542"/>
              <a:gd name="connsiteX7" fmla="*/ 2630161 w 2714692"/>
              <a:gd name="connsiteY7" fmla="*/ 979761 h 2602542"/>
              <a:gd name="connsiteX8" fmla="*/ 2120039 w 2714692"/>
              <a:gd name="connsiteY8" fmla="*/ 1530928 h 2602542"/>
              <a:gd name="connsiteX9" fmla="*/ 1929019 w 2714692"/>
              <a:gd name="connsiteY9" fmla="*/ 1731573 h 2602542"/>
              <a:gd name="connsiteX10" fmla="*/ 1697696 w 2714692"/>
              <a:gd name="connsiteY10" fmla="*/ 1965434 h 2602542"/>
              <a:gd name="connsiteX11" fmla="*/ 952953 w 2714692"/>
              <a:gd name="connsiteY11" fmla="*/ 2466636 h 2602542"/>
              <a:gd name="connsiteX12" fmla="*/ 65816 w 2714692"/>
              <a:gd name="connsiteY12" fmla="*/ 2534319 h 2602542"/>
              <a:gd name="connsiteX0" fmla="*/ 65816 w 2714692"/>
              <a:gd name="connsiteY0" fmla="*/ 2534319 h 2602542"/>
              <a:gd name="connsiteX1" fmla="*/ 148482 w 2714692"/>
              <a:gd name="connsiteY1" fmla="*/ 1593309 h 2602542"/>
              <a:gd name="connsiteX2" fmla="*/ 809876 w 2714692"/>
              <a:gd name="connsiteY2" fmla="*/ 1016130 h 2602542"/>
              <a:gd name="connsiteX3" fmla="*/ 996483 w 2714692"/>
              <a:gd name="connsiteY3" fmla="*/ 810398 h 2602542"/>
              <a:gd name="connsiteX4" fmla="*/ 1190971 w 2714692"/>
              <a:gd name="connsiteY4" fmla="*/ 660026 h 2602542"/>
              <a:gd name="connsiteX5" fmla="*/ 1785249 w 2714692"/>
              <a:gd name="connsiteY5" fmla="*/ 165477 h 2602542"/>
              <a:gd name="connsiteX6" fmla="*/ 2676289 w 2714692"/>
              <a:gd name="connsiteY6" fmla="*/ 55119 h 2602542"/>
              <a:gd name="connsiteX7" fmla="*/ 2630161 w 2714692"/>
              <a:gd name="connsiteY7" fmla="*/ 979761 h 2602542"/>
              <a:gd name="connsiteX8" fmla="*/ 2120039 w 2714692"/>
              <a:gd name="connsiteY8" fmla="*/ 1530928 h 2602542"/>
              <a:gd name="connsiteX9" fmla="*/ 1929019 w 2714692"/>
              <a:gd name="connsiteY9" fmla="*/ 1731573 h 2602542"/>
              <a:gd name="connsiteX10" fmla="*/ 1697696 w 2714692"/>
              <a:gd name="connsiteY10" fmla="*/ 1965434 h 2602542"/>
              <a:gd name="connsiteX11" fmla="*/ 952953 w 2714692"/>
              <a:gd name="connsiteY11" fmla="*/ 2466636 h 2602542"/>
              <a:gd name="connsiteX12" fmla="*/ 65816 w 2714692"/>
              <a:gd name="connsiteY12" fmla="*/ 2534319 h 2602542"/>
              <a:gd name="connsiteX0" fmla="*/ 65816 w 2728383"/>
              <a:gd name="connsiteY0" fmla="*/ 2534319 h 2602542"/>
              <a:gd name="connsiteX1" fmla="*/ 148482 w 2728383"/>
              <a:gd name="connsiteY1" fmla="*/ 1593309 h 2602542"/>
              <a:gd name="connsiteX2" fmla="*/ 809876 w 2728383"/>
              <a:gd name="connsiteY2" fmla="*/ 1016130 h 2602542"/>
              <a:gd name="connsiteX3" fmla="*/ 996483 w 2728383"/>
              <a:gd name="connsiteY3" fmla="*/ 810398 h 2602542"/>
              <a:gd name="connsiteX4" fmla="*/ 1190971 w 2728383"/>
              <a:gd name="connsiteY4" fmla="*/ 660026 h 2602542"/>
              <a:gd name="connsiteX5" fmla="*/ 1785249 w 2728383"/>
              <a:gd name="connsiteY5" fmla="*/ 165477 h 2602542"/>
              <a:gd name="connsiteX6" fmla="*/ 2676289 w 2728383"/>
              <a:gd name="connsiteY6" fmla="*/ 55119 h 2602542"/>
              <a:gd name="connsiteX7" fmla="*/ 2630161 w 2728383"/>
              <a:gd name="connsiteY7" fmla="*/ 979761 h 2602542"/>
              <a:gd name="connsiteX8" fmla="*/ 2120039 w 2728383"/>
              <a:gd name="connsiteY8" fmla="*/ 1530928 h 2602542"/>
              <a:gd name="connsiteX9" fmla="*/ 1929019 w 2728383"/>
              <a:gd name="connsiteY9" fmla="*/ 1731573 h 2602542"/>
              <a:gd name="connsiteX10" fmla="*/ 1697696 w 2728383"/>
              <a:gd name="connsiteY10" fmla="*/ 1965434 h 2602542"/>
              <a:gd name="connsiteX11" fmla="*/ 952953 w 2728383"/>
              <a:gd name="connsiteY11" fmla="*/ 2466636 h 2602542"/>
              <a:gd name="connsiteX12" fmla="*/ 65816 w 2728383"/>
              <a:gd name="connsiteY12" fmla="*/ 2534319 h 2602542"/>
              <a:gd name="connsiteX0" fmla="*/ 65816 w 2738674"/>
              <a:gd name="connsiteY0" fmla="*/ 2534319 h 2602542"/>
              <a:gd name="connsiteX1" fmla="*/ 148482 w 2738674"/>
              <a:gd name="connsiteY1" fmla="*/ 1593309 h 2602542"/>
              <a:gd name="connsiteX2" fmla="*/ 809876 w 2738674"/>
              <a:gd name="connsiteY2" fmla="*/ 1016130 h 2602542"/>
              <a:gd name="connsiteX3" fmla="*/ 996483 w 2738674"/>
              <a:gd name="connsiteY3" fmla="*/ 810398 h 2602542"/>
              <a:gd name="connsiteX4" fmla="*/ 1190971 w 2738674"/>
              <a:gd name="connsiteY4" fmla="*/ 660026 h 2602542"/>
              <a:gd name="connsiteX5" fmla="*/ 1785249 w 2738674"/>
              <a:gd name="connsiteY5" fmla="*/ 165477 h 2602542"/>
              <a:gd name="connsiteX6" fmla="*/ 2676289 w 2738674"/>
              <a:gd name="connsiteY6" fmla="*/ 55119 h 2602542"/>
              <a:gd name="connsiteX7" fmla="*/ 2630161 w 2738674"/>
              <a:gd name="connsiteY7" fmla="*/ 979761 h 2602542"/>
              <a:gd name="connsiteX8" fmla="*/ 2120039 w 2738674"/>
              <a:gd name="connsiteY8" fmla="*/ 1530928 h 2602542"/>
              <a:gd name="connsiteX9" fmla="*/ 1929019 w 2738674"/>
              <a:gd name="connsiteY9" fmla="*/ 1731573 h 2602542"/>
              <a:gd name="connsiteX10" fmla="*/ 1697696 w 2738674"/>
              <a:gd name="connsiteY10" fmla="*/ 1965434 h 2602542"/>
              <a:gd name="connsiteX11" fmla="*/ 952953 w 2738674"/>
              <a:gd name="connsiteY11" fmla="*/ 2466636 h 2602542"/>
              <a:gd name="connsiteX12" fmla="*/ 65816 w 2738674"/>
              <a:gd name="connsiteY12" fmla="*/ 2534319 h 260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38674" h="2602542">
                <a:moveTo>
                  <a:pt x="65816" y="2534319"/>
                </a:moveTo>
                <a:cubicBezTo>
                  <a:pt x="-68263" y="2388764"/>
                  <a:pt x="24472" y="1846340"/>
                  <a:pt x="148482" y="1593309"/>
                </a:cubicBezTo>
                <a:cubicBezTo>
                  <a:pt x="272492" y="1340278"/>
                  <a:pt x="668543" y="1146615"/>
                  <a:pt x="809876" y="1016130"/>
                </a:cubicBezTo>
                <a:cubicBezTo>
                  <a:pt x="951210" y="885645"/>
                  <a:pt x="859162" y="930238"/>
                  <a:pt x="996483" y="810398"/>
                </a:cubicBezTo>
                <a:cubicBezTo>
                  <a:pt x="1133804" y="690558"/>
                  <a:pt x="1085649" y="771833"/>
                  <a:pt x="1190971" y="660026"/>
                </a:cubicBezTo>
                <a:cubicBezTo>
                  <a:pt x="1287065" y="600067"/>
                  <a:pt x="1537696" y="266295"/>
                  <a:pt x="1785249" y="165477"/>
                </a:cubicBezTo>
                <a:cubicBezTo>
                  <a:pt x="2032802" y="64659"/>
                  <a:pt x="2535470" y="-80595"/>
                  <a:pt x="2676289" y="55119"/>
                </a:cubicBezTo>
                <a:cubicBezTo>
                  <a:pt x="2817108" y="190833"/>
                  <a:pt x="2682894" y="676183"/>
                  <a:pt x="2630161" y="979761"/>
                </a:cubicBezTo>
                <a:lnTo>
                  <a:pt x="2120039" y="1530928"/>
                </a:lnTo>
                <a:cubicBezTo>
                  <a:pt x="2003182" y="1656230"/>
                  <a:pt x="2047521" y="1604024"/>
                  <a:pt x="1929019" y="1731573"/>
                </a:cubicBezTo>
                <a:cubicBezTo>
                  <a:pt x="1842645" y="1832697"/>
                  <a:pt x="1828514" y="1855902"/>
                  <a:pt x="1697696" y="1965434"/>
                </a:cubicBezTo>
                <a:cubicBezTo>
                  <a:pt x="1600616" y="2046078"/>
                  <a:pt x="1224933" y="2371822"/>
                  <a:pt x="952953" y="2466636"/>
                </a:cubicBezTo>
                <a:cubicBezTo>
                  <a:pt x="680973" y="2561450"/>
                  <a:pt x="199895" y="2679874"/>
                  <a:pt x="65816" y="2534319"/>
                </a:cubicBezTo>
                <a:close/>
              </a:path>
            </a:pathLst>
          </a:custGeom>
          <a:solidFill>
            <a:schemeClr val="accent1">
              <a:lumMod val="20000"/>
              <a:lumOff val="80000"/>
              <a:alpha val="40000"/>
            </a:schemeClr>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err="1">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42" name="Google Shape;190;p27">
            <a:extLst>
              <a:ext uri="{FF2B5EF4-FFF2-40B4-BE49-F238E27FC236}">
                <a16:creationId xmlns:a16="http://schemas.microsoft.com/office/drawing/2014/main" id="{0C19F9DF-E956-4B83-A22F-32BD0FEC5833}"/>
              </a:ext>
            </a:extLst>
          </p:cNvPr>
          <p:cNvSpPr/>
          <p:nvPr/>
        </p:nvSpPr>
        <p:spPr>
          <a:xfrm>
            <a:off x="9374307" y="2304146"/>
            <a:ext cx="1448015" cy="640510"/>
          </a:xfrm>
          <a:prstGeom prst="borderCallout1">
            <a:avLst>
              <a:gd name="adj1" fmla="val 12162"/>
              <a:gd name="adj2" fmla="val -6656"/>
              <a:gd name="adj3" fmla="val 50326"/>
              <a:gd name="adj4" fmla="val -137806"/>
            </a:avLst>
          </a:prstGeom>
          <a:solidFill>
            <a:srgbClr val="002060">
              <a:alpha val="50000"/>
            </a:srgbClr>
          </a:solidFill>
          <a:ln>
            <a:solidFill>
              <a:srgbClr val="002060"/>
            </a:solidFill>
          </a:ln>
        </p:spPr>
        <p:txBody>
          <a:bodyPr spcFirstLastPara="1" wrap="square" lIns="91425" tIns="45700" rIns="91425" bIns="45700" anchor="ctr" anchorCtr="0">
            <a:noAutofit/>
          </a:bodyPr>
          <a:lstStyle/>
          <a:p>
            <a:pPr algn="ctr">
              <a:buClr>
                <a:schemeClr val="dk1"/>
              </a:buClr>
              <a:buSzPts val="1200"/>
            </a:pPr>
            <a:r>
              <a:rPr lang="en-GB" sz="1400" b="1">
                <a:solidFill>
                  <a:schemeClr val="dk1"/>
                </a:solidFill>
                <a:latin typeface="Tahoma" panose="020B0604030504040204" pitchFamily="34" charset="0"/>
                <a:ea typeface="Tahoma" panose="020B0604030504040204" pitchFamily="34" charset="0"/>
                <a:cs typeface="Tahoma" panose="020B0604030504040204" pitchFamily="34" charset="0"/>
                <a:sym typeface="Arial"/>
              </a:rPr>
              <a:t>Technical guru</a:t>
            </a:r>
          </a:p>
        </p:txBody>
      </p:sp>
      <p:sp>
        <p:nvSpPr>
          <p:cNvPr id="43" name="Google Shape;190;p27">
            <a:extLst>
              <a:ext uri="{FF2B5EF4-FFF2-40B4-BE49-F238E27FC236}">
                <a16:creationId xmlns:a16="http://schemas.microsoft.com/office/drawing/2014/main" id="{03B310CE-DCA3-496E-983D-607AC7743255}"/>
              </a:ext>
            </a:extLst>
          </p:cNvPr>
          <p:cNvSpPr/>
          <p:nvPr/>
        </p:nvSpPr>
        <p:spPr>
          <a:xfrm>
            <a:off x="1403753" y="3269288"/>
            <a:ext cx="1712320" cy="640510"/>
          </a:xfrm>
          <a:prstGeom prst="borderCallout1">
            <a:avLst>
              <a:gd name="adj1" fmla="val 14227"/>
              <a:gd name="adj2" fmla="val 104957"/>
              <a:gd name="adj3" fmla="val 7443"/>
              <a:gd name="adj4" fmla="val 179053"/>
            </a:avLst>
          </a:prstGeom>
          <a:solidFill>
            <a:srgbClr val="C00000">
              <a:alpha val="50000"/>
            </a:srgbClr>
          </a:solidFill>
          <a:ln>
            <a:solidFill>
              <a:srgbClr val="C00000"/>
            </a:solidFill>
          </a:ln>
        </p:spPr>
        <p:txBody>
          <a:bodyPr spcFirstLastPara="1" wrap="square" lIns="91425" tIns="45700" rIns="91425" bIns="45700" anchor="ctr" anchorCtr="0">
            <a:noAutofit/>
          </a:bodyPr>
          <a:lstStyle/>
          <a:p>
            <a:pPr algn="ctr">
              <a:buClr>
                <a:schemeClr val="dk1"/>
              </a:buClr>
              <a:buSzPts val="1200"/>
            </a:pPr>
            <a:r>
              <a:rPr lang="en-GB" sz="1600" b="1">
                <a:solidFill>
                  <a:schemeClr val="dk1"/>
                </a:solidFill>
                <a:latin typeface="Tahoma" panose="020B0604030504040204" pitchFamily="34" charset="0"/>
                <a:ea typeface="Tahoma" panose="020B0604030504040204" pitchFamily="34" charset="0"/>
                <a:cs typeface="Tahoma" panose="020B0604030504040204" pitchFamily="34" charset="0"/>
                <a:sym typeface="Arial"/>
              </a:rPr>
              <a:t>Sales lead</a:t>
            </a:r>
          </a:p>
        </p:txBody>
      </p:sp>
      <p:sp>
        <p:nvSpPr>
          <p:cNvPr id="48" name="Google Shape;113;p2">
            <a:extLst>
              <a:ext uri="{FF2B5EF4-FFF2-40B4-BE49-F238E27FC236}">
                <a16:creationId xmlns:a16="http://schemas.microsoft.com/office/drawing/2014/main" id="{F6C35F03-1ADE-4609-BE1A-CA869673E853}"/>
              </a:ext>
            </a:extLst>
          </p:cNvPr>
          <p:cNvSpPr txBox="1">
            <a:spLocks/>
          </p:cNvSpPr>
          <p:nvPr/>
        </p:nvSpPr>
        <p:spPr>
          <a:xfrm>
            <a:off x="11633538" y="6613022"/>
            <a:ext cx="163804" cy="184666"/>
          </a:xfrm>
          <a:prstGeom prst="rect">
            <a:avLst/>
          </a:prstGeom>
          <a:noFill/>
          <a:ln>
            <a:noFill/>
          </a:ln>
        </p:spPr>
        <p:txBody>
          <a:bodyPr spcFirstLastPara="1" wrap="square" lIns="0" tIns="0" rIns="0" bIns="0" anchor="t" anchorCtr="0">
            <a:sp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687617"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1375235"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2062852"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275047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3438086" algn="l" defTabSz="1375235" rtl="0" eaLnBrk="1" latinLnBrk="0" hangingPunct="1">
              <a:defRPr kern="1200">
                <a:solidFill>
                  <a:schemeClr val="tx1"/>
                </a:solidFill>
                <a:latin typeface="Calibri" panose="020F0502020204030204" pitchFamily="34" charset="0"/>
                <a:ea typeface="+mn-ea"/>
                <a:cs typeface="+mn-cs"/>
              </a:defRPr>
            </a:lvl6pPr>
            <a:lvl7pPr marL="4125703" algn="l" defTabSz="1375235" rtl="0" eaLnBrk="1" latinLnBrk="0" hangingPunct="1">
              <a:defRPr kern="1200">
                <a:solidFill>
                  <a:schemeClr val="tx1"/>
                </a:solidFill>
                <a:latin typeface="Calibri" panose="020F0502020204030204" pitchFamily="34" charset="0"/>
                <a:ea typeface="+mn-ea"/>
                <a:cs typeface="+mn-cs"/>
              </a:defRPr>
            </a:lvl7pPr>
            <a:lvl8pPr marL="4813320" algn="l" defTabSz="1375235" rtl="0" eaLnBrk="1" latinLnBrk="0" hangingPunct="1">
              <a:defRPr kern="1200">
                <a:solidFill>
                  <a:schemeClr val="tx1"/>
                </a:solidFill>
                <a:latin typeface="Calibri" panose="020F0502020204030204" pitchFamily="34" charset="0"/>
                <a:ea typeface="+mn-ea"/>
                <a:cs typeface="+mn-cs"/>
              </a:defRPr>
            </a:lvl8pPr>
            <a:lvl9pPr marL="5500937" algn="l" defTabSz="1375235" rtl="0" eaLnBrk="1" latinLnBrk="0" hangingPunct="1">
              <a:defRPr kern="1200">
                <a:solidFill>
                  <a:schemeClr val="tx1"/>
                </a:solidFill>
                <a:latin typeface="Calibri" panose="020F0502020204030204" pitchFamily="34" charset="0"/>
                <a:ea typeface="+mn-ea"/>
                <a:cs typeface="+mn-cs"/>
              </a:defRPr>
            </a:lvl9pPr>
          </a:lstStyle>
          <a:p>
            <a:pPr>
              <a:spcAft>
                <a:spcPts val="0"/>
              </a:spcAft>
            </a:pPr>
            <a:fld id="{00000000-1234-1234-1234-123412341234}" type="slidenum">
              <a:rPr lang="en-GB" sz="1200"/>
              <a:pPr>
                <a:spcAft>
                  <a:spcPts val="0"/>
                </a:spcAft>
              </a:pPr>
              <a:t>16</a:t>
            </a:fld>
            <a:endParaRPr lang="en-GB" sz="1200"/>
          </a:p>
        </p:txBody>
      </p:sp>
      <p:sp>
        <p:nvSpPr>
          <p:cNvPr id="7" name="Title 1">
            <a:extLst>
              <a:ext uri="{FF2B5EF4-FFF2-40B4-BE49-F238E27FC236}">
                <a16:creationId xmlns:a16="http://schemas.microsoft.com/office/drawing/2014/main" id="{9BF58B1E-12B7-ED04-A80E-61E47A7E21E7}"/>
              </a:ext>
            </a:extLst>
          </p:cNvPr>
          <p:cNvSpPr>
            <a:spLocks noGrp="1"/>
          </p:cNvSpPr>
          <p:nvPr>
            <p:ph type="title"/>
          </p:nvPr>
        </p:nvSpPr>
        <p:spPr>
          <a:xfrm>
            <a:off x="503444" y="282051"/>
            <a:ext cx="11444097" cy="443198"/>
          </a:xfrm>
        </p:spPr>
        <p:txBody>
          <a:bodyPr vert="horz" lIns="91440" tIns="45720" rIns="91440" bIns="45720" rtlCol="0" anchor="ctr">
            <a:noAutofit/>
          </a:bodyPr>
          <a:lstStyle/>
          <a:p>
            <a:pPr defTabSz="715963"/>
            <a:r>
              <a:rPr lang="en-GB" sz="2800" dirty="0">
                <a:latin typeface="Segoe UI"/>
                <a:ea typeface="+mj-ea"/>
                <a:cs typeface="Segoe UI"/>
              </a:rPr>
              <a:t>		Expectations can be tailored for individual career paths</a:t>
            </a:r>
          </a:p>
        </p:txBody>
      </p:sp>
      <p:sp>
        <p:nvSpPr>
          <p:cNvPr id="9" name="Arrow: Pentagon 8">
            <a:extLst>
              <a:ext uri="{FF2B5EF4-FFF2-40B4-BE49-F238E27FC236}">
                <a16:creationId xmlns:a16="http://schemas.microsoft.com/office/drawing/2014/main" id="{0DDA4F86-7E91-5504-D7D8-C1CBDDD1895F}"/>
              </a:ext>
            </a:extLst>
          </p:cNvPr>
          <p:cNvSpPr/>
          <p:nvPr/>
        </p:nvSpPr>
        <p:spPr>
          <a:xfrm>
            <a:off x="478481" y="168965"/>
            <a:ext cx="1449710" cy="609175"/>
          </a:xfrm>
          <a:prstGeom prst="homePlate">
            <a:avLst/>
          </a:prstGeom>
          <a:solidFill>
            <a:schemeClr val="tx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2400" b="1" dirty="0">
                <a:latin typeface="Tahoma" panose="020B0604030504040204" pitchFamily="34" charset="0"/>
                <a:ea typeface="Tahoma" panose="020B0604030504040204" pitchFamily="34" charset="0"/>
                <a:cs typeface="Tahoma" panose="020B0604030504040204" pitchFamily="34" charset="0"/>
              </a:rPr>
              <a:t>What?</a:t>
            </a:r>
          </a:p>
        </p:txBody>
      </p:sp>
      <p:sp>
        <p:nvSpPr>
          <p:cNvPr id="10" name="TextBox 9">
            <a:extLst>
              <a:ext uri="{FF2B5EF4-FFF2-40B4-BE49-F238E27FC236}">
                <a16:creationId xmlns:a16="http://schemas.microsoft.com/office/drawing/2014/main" id="{06BB85B9-C172-4E68-44BE-C4ACE8A4D16D}"/>
              </a:ext>
            </a:extLst>
          </p:cNvPr>
          <p:cNvSpPr txBox="1"/>
          <p:nvPr/>
        </p:nvSpPr>
        <p:spPr>
          <a:xfrm>
            <a:off x="5901154" y="3620288"/>
            <a:ext cx="394907" cy="234286"/>
          </a:xfrm>
          <a:prstGeom prst="rect">
            <a:avLst/>
          </a:prstGeom>
          <a:noFill/>
        </p:spPr>
        <p:txBody>
          <a:bodyPr vert="horz" wrap="none" lIns="36000" tIns="36000" rIns="36000" bIns="36000" rtlCol="0">
            <a:spAutoFit/>
          </a:bodyPr>
          <a:lstStyle/>
          <a:p>
            <a:pPr algn="ctr">
              <a:spcBef>
                <a:spcPts val="600"/>
              </a:spcBef>
              <a:buClr>
                <a:srgbClr val="002060"/>
              </a:buClr>
            </a:pPr>
            <a:r>
              <a:rPr lang="en-GB" sz="1050" b="1" dirty="0">
                <a:solidFill>
                  <a:schemeClr val="bg1"/>
                </a:solidFill>
                <a:latin typeface="Tahoma" panose="020B0604030504040204" pitchFamily="34" charset="0"/>
                <a:ea typeface="Tahoma" panose="020B0604030504040204" pitchFamily="34" charset="0"/>
                <a:cs typeface="Tahoma" panose="020B0604030504040204" pitchFamily="34" charset="0"/>
              </a:rPr>
              <a:t>Base</a:t>
            </a:r>
          </a:p>
        </p:txBody>
      </p:sp>
    </p:spTree>
    <p:extLst>
      <p:ext uri="{BB962C8B-B14F-4D97-AF65-F5344CB8AC3E}">
        <p14:creationId xmlns:p14="http://schemas.microsoft.com/office/powerpoint/2010/main" val="20785963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40" grpId="0" animBg="1"/>
      <p:bldP spid="42" grpId="0" animBg="1"/>
      <p:bldP spid="43"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Google Shape;113;p2">
            <a:extLst>
              <a:ext uri="{FF2B5EF4-FFF2-40B4-BE49-F238E27FC236}">
                <a16:creationId xmlns:a16="http://schemas.microsoft.com/office/drawing/2014/main" id="{F6C35F03-1ADE-4609-BE1A-CA869673E853}"/>
              </a:ext>
            </a:extLst>
          </p:cNvPr>
          <p:cNvSpPr txBox="1">
            <a:spLocks/>
          </p:cNvSpPr>
          <p:nvPr/>
        </p:nvSpPr>
        <p:spPr>
          <a:xfrm>
            <a:off x="11633538" y="6613022"/>
            <a:ext cx="163804" cy="184666"/>
          </a:xfrm>
          <a:prstGeom prst="rect">
            <a:avLst/>
          </a:prstGeom>
          <a:noFill/>
          <a:ln>
            <a:noFill/>
          </a:ln>
        </p:spPr>
        <p:txBody>
          <a:bodyPr spcFirstLastPara="1" wrap="square" lIns="0" tIns="0" rIns="0" bIns="0" anchor="t" anchorCtr="0">
            <a:sp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687617"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1375235"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2062852"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275047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3438086" algn="l" defTabSz="1375235" rtl="0" eaLnBrk="1" latinLnBrk="0" hangingPunct="1">
              <a:defRPr kern="1200">
                <a:solidFill>
                  <a:schemeClr val="tx1"/>
                </a:solidFill>
                <a:latin typeface="Calibri" panose="020F0502020204030204" pitchFamily="34" charset="0"/>
                <a:ea typeface="+mn-ea"/>
                <a:cs typeface="+mn-cs"/>
              </a:defRPr>
            </a:lvl6pPr>
            <a:lvl7pPr marL="4125703" algn="l" defTabSz="1375235" rtl="0" eaLnBrk="1" latinLnBrk="0" hangingPunct="1">
              <a:defRPr kern="1200">
                <a:solidFill>
                  <a:schemeClr val="tx1"/>
                </a:solidFill>
                <a:latin typeface="Calibri" panose="020F0502020204030204" pitchFamily="34" charset="0"/>
                <a:ea typeface="+mn-ea"/>
                <a:cs typeface="+mn-cs"/>
              </a:defRPr>
            </a:lvl7pPr>
            <a:lvl8pPr marL="4813320" algn="l" defTabSz="1375235" rtl="0" eaLnBrk="1" latinLnBrk="0" hangingPunct="1">
              <a:defRPr kern="1200">
                <a:solidFill>
                  <a:schemeClr val="tx1"/>
                </a:solidFill>
                <a:latin typeface="Calibri" panose="020F0502020204030204" pitchFamily="34" charset="0"/>
                <a:ea typeface="+mn-ea"/>
                <a:cs typeface="+mn-cs"/>
              </a:defRPr>
            </a:lvl8pPr>
            <a:lvl9pPr marL="5500937" algn="l" defTabSz="1375235" rtl="0" eaLnBrk="1" latinLnBrk="0" hangingPunct="1">
              <a:defRPr kern="1200">
                <a:solidFill>
                  <a:schemeClr val="tx1"/>
                </a:solidFill>
                <a:latin typeface="Calibri" panose="020F0502020204030204" pitchFamily="34" charset="0"/>
                <a:ea typeface="+mn-ea"/>
                <a:cs typeface="+mn-cs"/>
              </a:defRPr>
            </a:lvl9pPr>
          </a:lstStyle>
          <a:p>
            <a:pPr>
              <a:spcAft>
                <a:spcPts val="0"/>
              </a:spcAft>
            </a:pPr>
            <a:fld id="{00000000-1234-1234-1234-123412341234}" type="slidenum">
              <a:rPr lang="en-GB" sz="1200"/>
              <a:pPr>
                <a:spcAft>
                  <a:spcPts val="0"/>
                </a:spcAft>
              </a:pPr>
              <a:t>17</a:t>
            </a:fld>
            <a:endParaRPr lang="en-GB" sz="1200"/>
          </a:p>
        </p:txBody>
      </p:sp>
      <p:sp>
        <p:nvSpPr>
          <p:cNvPr id="7" name="Title 1">
            <a:extLst>
              <a:ext uri="{FF2B5EF4-FFF2-40B4-BE49-F238E27FC236}">
                <a16:creationId xmlns:a16="http://schemas.microsoft.com/office/drawing/2014/main" id="{9BF58B1E-12B7-ED04-A80E-61E47A7E21E7}"/>
              </a:ext>
            </a:extLst>
          </p:cNvPr>
          <p:cNvSpPr>
            <a:spLocks noGrp="1"/>
          </p:cNvSpPr>
          <p:nvPr>
            <p:ph type="title"/>
          </p:nvPr>
        </p:nvSpPr>
        <p:spPr>
          <a:xfrm>
            <a:off x="503444" y="282051"/>
            <a:ext cx="11444097" cy="443198"/>
          </a:xfrm>
        </p:spPr>
        <p:txBody>
          <a:bodyPr vert="horz" lIns="91440" tIns="45720" rIns="91440" bIns="45720" rtlCol="0" anchor="ctr">
            <a:noAutofit/>
          </a:bodyPr>
          <a:lstStyle/>
          <a:p>
            <a:pPr defTabSz="715963"/>
            <a:r>
              <a:rPr lang="en-GB" sz="2800" dirty="0">
                <a:latin typeface="Segoe UI"/>
                <a:ea typeface="+mj-ea"/>
                <a:cs typeface="Segoe UI"/>
              </a:rPr>
              <a:t>What	Consider when in career, when in year, and team capacity</a:t>
            </a:r>
          </a:p>
        </p:txBody>
      </p:sp>
      <p:sp>
        <p:nvSpPr>
          <p:cNvPr id="2" name="Arrow: Pentagon 1">
            <a:extLst>
              <a:ext uri="{FF2B5EF4-FFF2-40B4-BE49-F238E27FC236}">
                <a16:creationId xmlns:a16="http://schemas.microsoft.com/office/drawing/2014/main" id="{9BC8B7BF-FA46-337B-6AF8-F3923122F205}"/>
              </a:ext>
            </a:extLst>
          </p:cNvPr>
          <p:cNvSpPr/>
          <p:nvPr/>
        </p:nvSpPr>
        <p:spPr>
          <a:xfrm>
            <a:off x="478481" y="168965"/>
            <a:ext cx="1449710" cy="609175"/>
          </a:xfrm>
          <a:prstGeom prst="homePlate">
            <a:avLst/>
          </a:prstGeom>
          <a:solidFill>
            <a:schemeClr val="tx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2400" b="1" dirty="0">
                <a:latin typeface="Tahoma" panose="020B0604030504040204" pitchFamily="34" charset="0"/>
                <a:ea typeface="Tahoma" panose="020B0604030504040204" pitchFamily="34" charset="0"/>
                <a:cs typeface="Tahoma" panose="020B0604030504040204" pitchFamily="34" charset="0"/>
              </a:rPr>
              <a:t>When?</a:t>
            </a:r>
          </a:p>
        </p:txBody>
      </p:sp>
      <p:sp>
        <p:nvSpPr>
          <p:cNvPr id="4" name="Rectangle 3">
            <a:extLst>
              <a:ext uri="{FF2B5EF4-FFF2-40B4-BE49-F238E27FC236}">
                <a16:creationId xmlns:a16="http://schemas.microsoft.com/office/drawing/2014/main" id="{D48BB0D1-DA59-618B-CB18-F93F88B0607D}"/>
              </a:ext>
            </a:extLst>
          </p:cNvPr>
          <p:cNvSpPr/>
          <p:nvPr/>
        </p:nvSpPr>
        <p:spPr>
          <a:xfrm>
            <a:off x="503444" y="1157123"/>
            <a:ext cx="1951301" cy="746522"/>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Tahoma" panose="020B0604030504040204" pitchFamily="34" charset="0"/>
                <a:ea typeface="Tahoma" panose="020B0604030504040204" pitchFamily="34" charset="0"/>
                <a:cs typeface="Tahoma" panose="020B0604030504040204" pitchFamily="34" charset="0"/>
              </a:rPr>
              <a:t>Career</a:t>
            </a:r>
          </a:p>
        </p:txBody>
      </p:sp>
      <p:sp>
        <p:nvSpPr>
          <p:cNvPr id="5" name="Rectangle 4">
            <a:extLst>
              <a:ext uri="{FF2B5EF4-FFF2-40B4-BE49-F238E27FC236}">
                <a16:creationId xmlns:a16="http://schemas.microsoft.com/office/drawing/2014/main" id="{0A651D8C-BECA-0DDA-4564-2177D2BDD572}"/>
              </a:ext>
            </a:extLst>
          </p:cNvPr>
          <p:cNvSpPr/>
          <p:nvPr/>
        </p:nvSpPr>
        <p:spPr>
          <a:xfrm>
            <a:off x="503444" y="2980652"/>
            <a:ext cx="1951301" cy="746522"/>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Tahoma" panose="020B0604030504040204" pitchFamily="34" charset="0"/>
                <a:ea typeface="Tahoma" panose="020B0604030504040204" pitchFamily="34" charset="0"/>
                <a:cs typeface="Tahoma" panose="020B0604030504040204" pitchFamily="34" charset="0"/>
              </a:rPr>
              <a:t>Annual </a:t>
            </a:r>
            <a:br>
              <a:rPr lang="en-GB" dirty="0">
                <a:solidFill>
                  <a:schemeClr val="tx1"/>
                </a:solidFill>
                <a:latin typeface="Tahoma" panose="020B0604030504040204" pitchFamily="34" charset="0"/>
                <a:ea typeface="Tahoma" panose="020B0604030504040204" pitchFamily="34" charset="0"/>
                <a:cs typeface="Tahoma" panose="020B0604030504040204" pitchFamily="34" charset="0"/>
              </a:rPr>
            </a:br>
            <a:r>
              <a:rPr lang="en-GB" dirty="0">
                <a:solidFill>
                  <a:schemeClr val="tx1"/>
                </a:solidFill>
                <a:latin typeface="Tahoma" panose="020B0604030504040204" pitchFamily="34" charset="0"/>
                <a:ea typeface="Tahoma" panose="020B0604030504040204" pitchFamily="34" charset="0"/>
                <a:cs typeface="Tahoma" panose="020B0604030504040204" pitchFamily="34" charset="0"/>
              </a:rPr>
              <a:t>Calendar</a:t>
            </a:r>
          </a:p>
        </p:txBody>
      </p:sp>
      <p:sp>
        <p:nvSpPr>
          <p:cNvPr id="9" name="Rectangle 8">
            <a:extLst>
              <a:ext uri="{FF2B5EF4-FFF2-40B4-BE49-F238E27FC236}">
                <a16:creationId xmlns:a16="http://schemas.microsoft.com/office/drawing/2014/main" id="{85FA16DC-AC70-B8A9-8C5A-5BCB0BBA97FF}"/>
              </a:ext>
            </a:extLst>
          </p:cNvPr>
          <p:cNvSpPr/>
          <p:nvPr/>
        </p:nvSpPr>
        <p:spPr>
          <a:xfrm>
            <a:off x="503444" y="4674974"/>
            <a:ext cx="1951301" cy="746522"/>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Tahoma" panose="020B0604030504040204" pitchFamily="34" charset="0"/>
                <a:ea typeface="Tahoma" panose="020B0604030504040204" pitchFamily="34" charset="0"/>
                <a:cs typeface="Tahoma" panose="020B0604030504040204" pitchFamily="34" charset="0"/>
              </a:rPr>
              <a:t>Capacity</a:t>
            </a:r>
          </a:p>
        </p:txBody>
      </p:sp>
      <p:sp>
        <p:nvSpPr>
          <p:cNvPr id="10" name="Rectangle 9">
            <a:extLst>
              <a:ext uri="{FF2B5EF4-FFF2-40B4-BE49-F238E27FC236}">
                <a16:creationId xmlns:a16="http://schemas.microsoft.com/office/drawing/2014/main" id="{997793D0-D27B-BC0D-2E8C-8A9F333C615F}"/>
              </a:ext>
            </a:extLst>
          </p:cNvPr>
          <p:cNvSpPr/>
          <p:nvPr/>
        </p:nvSpPr>
        <p:spPr>
          <a:xfrm>
            <a:off x="503444" y="1959090"/>
            <a:ext cx="1951301" cy="6350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pPr marL="271145" indent="-161925">
              <a:spcBef>
                <a:spcPts val="600"/>
              </a:spcBef>
              <a:buFont typeface="Arial" panose="020B0604020202020204" pitchFamily="34" charset="0"/>
              <a:buChar char="•"/>
            </a:pPr>
            <a:r>
              <a:rPr lang="en-US" sz="1400" dirty="0">
                <a:solidFill>
                  <a:schemeClr val="tx1"/>
                </a:solidFill>
                <a:latin typeface="Tahoma"/>
                <a:ea typeface="Tahoma"/>
                <a:cs typeface="Tahoma"/>
              </a:rPr>
              <a:t>When they need</a:t>
            </a:r>
          </a:p>
          <a:p>
            <a:pPr marL="271145" indent="-161925">
              <a:spcBef>
                <a:spcPts val="600"/>
              </a:spcBef>
              <a:buFont typeface="Arial" panose="020B0604020202020204" pitchFamily="34" charset="0"/>
              <a:buChar char="•"/>
            </a:pPr>
            <a:r>
              <a:rPr lang="en-US" sz="1400" dirty="0">
                <a:solidFill>
                  <a:schemeClr val="tx1"/>
                </a:solidFill>
                <a:latin typeface="Tahoma"/>
                <a:ea typeface="Tahoma"/>
                <a:cs typeface="Tahoma"/>
              </a:rPr>
              <a:t>When you can</a:t>
            </a:r>
          </a:p>
        </p:txBody>
      </p:sp>
      <p:sp>
        <p:nvSpPr>
          <p:cNvPr id="12" name="Rectangle 11">
            <a:extLst>
              <a:ext uri="{FF2B5EF4-FFF2-40B4-BE49-F238E27FC236}">
                <a16:creationId xmlns:a16="http://schemas.microsoft.com/office/drawing/2014/main" id="{11066DF1-F319-18E0-2D33-4EA1F0309FC7}"/>
              </a:ext>
            </a:extLst>
          </p:cNvPr>
          <p:cNvSpPr/>
          <p:nvPr/>
        </p:nvSpPr>
        <p:spPr>
          <a:xfrm>
            <a:off x="503444" y="3781053"/>
            <a:ext cx="1951301" cy="6350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pPr marL="271145" indent="-161925">
              <a:spcBef>
                <a:spcPts val="600"/>
              </a:spcBef>
              <a:buFont typeface="Arial" panose="020B0604020202020204" pitchFamily="34" charset="0"/>
              <a:buChar char="•"/>
            </a:pPr>
            <a:r>
              <a:rPr lang="en-US" sz="1400" dirty="0">
                <a:solidFill>
                  <a:schemeClr val="tx1"/>
                </a:solidFill>
                <a:latin typeface="Tahoma"/>
                <a:ea typeface="Tahoma"/>
                <a:cs typeface="Tahoma"/>
              </a:rPr>
              <a:t>Scheduled</a:t>
            </a:r>
          </a:p>
          <a:p>
            <a:pPr marL="271145" indent="-161925">
              <a:spcBef>
                <a:spcPts val="600"/>
              </a:spcBef>
              <a:buFont typeface="Arial" panose="020B0604020202020204" pitchFamily="34" charset="0"/>
              <a:buChar char="•"/>
            </a:pPr>
            <a:r>
              <a:rPr lang="en-US" sz="1400" dirty="0">
                <a:solidFill>
                  <a:schemeClr val="tx1"/>
                </a:solidFill>
                <a:latin typeface="Tahoma"/>
                <a:ea typeface="Tahoma"/>
                <a:cs typeface="Tahoma"/>
              </a:rPr>
              <a:t>On-demand</a:t>
            </a:r>
          </a:p>
        </p:txBody>
      </p:sp>
      <p:sp>
        <p:nvSpPr>
          <p:cNvPr id="13" name="Rectangle 12">
            <a:extLst>
              <a:ext uri="{FF2B5EF4-FFF2-40B4-BE49-F238E27FC236}">
                <a16:creationId xmlns:a16="http://schemas.microsoft.com/office/drawing/2014/main" id="{B50B54BB-4694-8A65-BF60-3EE7B4DB73B5}"/>
              </a:ext>
            </a:extLst>
          </p:cNvPr>
          <p:cNvSpPr/>
          <p:nvPr/>
        </p:nvSpPr>
        <p:spPr>
          <a:xfrm>
            <a:off x="503444" y="5465435"/>
            <a:ext cx="1951301" cy="6350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pPr marL="271145" indent="-161925">
              <a:spcBef>
                <a:spcPts val="600"/>
              </a:spcBef>
              <a:buFont typeface="Arial" panose="020B0604020202020204" pitchFamily="34" charset="0"/>
              <a:buChar char="•"/>
            </a:pPr>
            <a:r>
              <a:rPr lang="en-US" sz="1400" dirty="0">
                <a:solidFill>
                  <a:schemeClr val="tx1"/>
                </a:solidFill>
                <a:latin typeface="Tahoma"/>
                <a:ea typeface="Tahoma"/>
                <a:cs typeface="Tahoma"/>
              </a:rPr>
              <a:t>Learner availability</a:t>
            </a:r>
          </a:p>
          <a:p>
            <a:pPr marL="271145" indent="-161925">
              <a:spcBef>
                <a:spcPts val="600"/>
              </a:spcBef>
              <a:buFont typeface="Arial" panose="020B0604020202020204" pitchFamily="34" charset="0"/>
              <a:buChar char="•"/>
            </a:pPr>
            <a:r>
              <a:rPr lang="en-US" sz="1400" dirty="0">
                <a:solidFill>
                  <a:schemeClr val="tx1"/>
                </a:solidFill>
                <a:latin typeface="Tahoma"/>
                <a:ea typeface="Tahoma"/>
                <a:cs typeface="Tahoma"/>
              </a:rPr>
              <a:t>Trainer availability</a:t>
            </a:r>
          </a:p>
          <a:p>
            <a:pPr marL="271145" indent="-161925">
              <a:spcBef>
                <a:spcPts val="600"/>
              </a:spcBef>
              <a:buFont typeface="Arial" panose="020B0604020202020204" pitchFamily="34" charset="0"/>
              <a:buChar char="•"/>
            </a:pPr>
            <a:r>
              <a:rPr lang="en-US" sz="1400" dirty="0">
                <a:solidFill>
                  <a:schemeClr val="tx1"/>
                </a:solidFill>
                <a:latin typeface="Tahoma"/>
                <a:ea typeface="Tahoma"/>
                <a:cs typeface="Tahoma"/>
              </a:rPr>
              <a:t>Development time</a:t>
            </a:r>
          </a:p>
        </p:txBody>
      </p:sp>
      <p:sp>
        <p:nvSpPr>
          <p:cNvPr id="18" name="Google Shape;197;p27">
            <a:extLst>
              <a:ext uri="{FF2B5EF4-FFF2-40B4-BE49-F238E27FC236}">
                <a16:creationId xmlns:a16="http://schemas.microsoft.com/office/drawing/2014/main" id="{C492A502-7359-002C-D187-8F8035B2893C}"/>
              </a:ext>
            </a:extLst>
          </p:cNvPr>
          <p:cNvSpPr/>
          <p:nvPr/>
        </p:nvSpPr>
        <p:spPr>
          <a:xfrm>
            <a:off x="10488695" y="1002261"/>
            <a:ext cx="1308647" cy="379278"/>
          </a:xfrm>
          <a:prstGeom prst="rect">
            <a:avLst/>
          </a:prstGeom>
          <a:noFill/>
          <a:ln>
            <a:noFill/>
          </a:ln>
        </p:spPr>
        <p:txBody>
          <a:bodyPr spcFirstLastPara="1" wrap="square" lIns="0" tIns="36000" rIns="0" bIns="36000" anchor="ctr" anchorCtr="0">
            <a:noAutofit/>
          </a:bodyPr>
          <a:lstStyle/>
          <a:p>
            <a:pPr algn="ctr"/>
            <a:r>
              <a:rPr lang="en-US" sz="1200" b="1" i="1" dirty="0">
                <a:latin typeface="Tahoma" panose="020B0604030504040204" pitchFamily="34" charset="0"/>
                <a:ea typeface="Tahoma" panose="020B0604030504040204" pitchFamily="34" charset="0"/>
                <a:cs typeface="Tahoma" panose="020B0604030504040204" pitchFamily="34" charset="0"/>
                <a:sym typeface="Arial"/>
              </a:rPr>
              <a:t>Simplified Example</a:t>
            </a:r>
            <a:endParaRPr b="1" i="1" dirty="0">
              <a:latin typeface="Tahoma" panose="020B0604030504040204" pitchFamily="34" charset="0"/>
              <a:ea typeface="Tahoma" panose="020B0604030504040204" pitchFamily="34" charset="0"/>
              <a:cs typeface="Tahoma" panose="020B0604030504040204" pitchFamily="34" charset="0"/>
            </a:endParaRPr>
          </a:p>
        </p:txBody>
      </p:sp>
      <p:pic>
        <p:nvPicPr>
          <p:cNvPr id="20" name="Picture 19">
            <a:extLst>
              <a:ext uri="{FF2B5EF4-FFF2-40B4-BE49-F238E27FC236}">
                <a16:creationId xmlns:a16="http://schemas.microsoft.com/office/drawing/2014/main" id="{33AA3D2F-4240-26AD-39D5-2D052B3269C2}"/>
              </a:ext>
            </a:extLst>
          </p:cNvPr>
          <p:cNvPicPr>
            <a:picLocks noChangeAspect="1"/>
          </p:cNvPicPr>
          <p:nvPr/>
        </p:nvPicPr>
        <p:blipFill rotWithShape="1">
          <a:blip r:embed="rId2"/>
          <a:srcRect l="19565" t="7826" r="26794" b="12319"/>
          <a:stretch/>
        </p:blipFill>
        <p:spPr>
          <a:xfrm>
            <a:off x="3740496" y="1065266"/>
            <a:ext cx="6751469" cy="565358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cxnSp>
        <p:nvCxnSpPr>
          <p:cNvPr id="22" name="Straight Arrow Connector 21">
            <a:extLst>
              <a:ext uri="{FF2B5EF4-FFF2-40B4-BE49-F238E27FC236}">
                <a16:creationId xmlns:a16="http://schemas.microsoft.com/office/drawing/2014/main" id="{603DF037-AC78-FCB3-D102-32785546670E}"/>
              </a:ext>
            </a:extLst>
          </p:cNvPr>
          <p:cNvCxnSpPr>
            <a:stCxn id="4" idx="3"/>
          </p:cNvCxnSpPr>
          <p:nvPr/>
        </p:nvCxnSpPr>
        <p:spPr>
          <a:xfrm flipV="1">
            <a:off x="2454745" y="1331843"/>
            <a:ext cx="1421516" cy="19854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3B13590F-2F6D-BB42-F7B7-4FD6460FABC8}"/>
              </a:ext>
            </a:extLst>
          </p:cNvPr>
          <p:cNvCxnSpPr>
            <a:cxnSpLocks/>
            <a:stCxn id="5" idx="3"/>
          </p:cNvCxnSpPr>
          <p:nvPr/>
        </p:nvCxnSpPr>
        <p:spPr>
          <a:xfrm>
            <a:off x="2454745" y="3353913"/>
            <a:ext cx="1441394" cy="92985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72111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Google Shape;113;p2">
            <a:extLst>
              <a:ext uri="{FF2B5EF4-FFF2-40B4-BE49-F238E27FC236}">
                <a16:creationId xmlns:a16="http://schemas.microsoft.com/office/drawing/2014/main" id="{F6C35F03-1ADE-4609-BE1A-CA869673E853}"/>
              </a:ext>
            </a:extLst>
          </p:cNvPr>
          <p:cNvSpPr txBox="1">
            <a:spLocks/>
          </p:cNvSpPr>
          <p:nvPr/>
        </p:nvSpPr>
        <p:spPr>
          <a:xfrm>
            <a:off x="11633538" y="6613022"/>
            <a:ext cx="163804" cy="184666"/>
          </a:xfrm>
          <a:prstGeom prst="rect">
            <a:avLst/>
          </a:prstGeom>
          <a:noFill/>
          <a:ln>
            <a:noFill/>
          </a:ln>
        </p:spPr>
        <p:txBody>
          <a:bodyPr spcFirstLastPara="1" wrap="square" lIns="0" tIns="0" rIns="0" bIns="0" anchor="t" anchorCtr="0">
            <a:sp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687617"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1375235"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2062852"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275047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3438086" algn="l" defTabSz="1375235" rtl="0" eaLnBrk="1" latinLnBrk="0" hangingPunct="1">
              <a:defRPr kern="1200">
                <a:solidFill>
                  <a:schemeClr val="tx1"/>
                </a:solidFill>
                <a:latin typeface="Calibri" panose="020F0502020204030204" pitchFamily="34" charset="0"/>
                <a:ea typeface="+mn-ea"/>
                <a:cs typeface="+mn-cs"/>
              </a:defRPr>
            </a:lvl6pPr>
            <a:lvl7pPr marL="4125703" algn="l" defTabSz="1375235" rtl="0" eaLnBrk="1" latinLnBrk="0" hangingPunct="1">
              <a:defRPr kern="1200">
                <a:solidFill>
                  <a:schemeClr val="tx1"/>
                </a:solidFill>
                <a:latin typeface="Calibri" panose="020F0502020204030204" pitchFamily="34" charset="0"/>
                <a:ea typeface="+mn-ea"/>
                <a:cs typeface="+mn-cs"/>
              </a:defRPr>
            </a:lvl7pPr>
            <a:lvl8pPr marL="4813320" algn="l" defTabSz="1375235" rtl="0" eaLnBrk="1" latinLnBrk="0" hangingPunct="1">
              <a:defRPr kern="1200">
                <a:solidFill>
                  <a:schemeClr val="tx1"/>
                </a:solidFill>
                <a:latin typeface="Calibri" panose="020F0502020204030204" pitchFamily="34" charset="0"/>
                <a:ea typeface="+mn-ea"/>
                <a:cs typeface="+mn-cs"/>
              </a:defRPr>
            </a:lvl8pPr>
            <a:lvl9pPr marL="5500937" algn="l" defTabSz="1375235" rtl="0" eaLnBrk="1" latinLnBrk="0" hangingPunct="1">
              <a:defRPr kern="1200">
                <a:solidFill>
                  <a:schemeClr val="tx1"/>
                </a:solidFill>
                <a:latin typeface="Calibri" panose="020F0502020204030204" pitchFamily="34" charset="0"/>
                <a:ea typeface="+mn-ea"/>
                <a:cs typeface="+mn-cs"/>
              </a:defRPr>
            </a:lvl9pPr>
          </a:lstStyle>
          <a:p>
            <a:pPr>
              <a:spcAft>
                <a:spcPts val="0"/>
              </a:spcAft>
            </a:pPr>
            <a:fld id="{00000000-1234-1234-1234-123412341234}" type="slidenum">
              <a:rPr lang="en-GB" sz="1200"/>
              <a:pPr>
                <a:spcAft>
                  <a:spcPts val="0"/>
                </a:spcAft>
              </a:pPr>
              <a:t>18</a:t>
            </a:fld>
            <a:endParaRPr lang="en-GB" sz="1200"/>
          </a:p>
        </p:txBody>
      </p:sp>
      <p:sp>
        <p:nvSpPr>
          <p:cNvPr id="7" name="Title 1">
            <a:extLst>
              <a:ext uri="{FF2B5EF4-FFF2-40B4-BE49-F238E27FC236}">
                <a16:creationId xmlns:a16="http://schemas.microsoft.com/office/drawing/2014/main" id="{9BF58B1E-12B7-ED04-A80E-61E47A7E21E7}"/>
              </a:ext>
            </a:extLst>
          </p:cNvPr>
          <p:cNvSpPr>
            <a:spLocks noGrp="1"/>
          </p:cNvSpPr>
          <p:nvPr>
            <p:ph type="title"/>
          </p:nvPr>
        </p:nvSpPr>
        <p:spPr>
          <a:xfrm>
            <a:off x="503444" y="282051"/>
            <a:ext cx="11444097" cy="443198"/>
          </a:xfrm>
        </p:spPr>
        <p:txBody>
          <a:bodyPr vert="horz" lIns="91440" tIns="45720" rIns="91440" bIns="45720" rtlCol="0" anchor="ctr">
            <a:noAutofit/>
          </a:bodyPr>
          <a:lstStyle/>
          <a:p>
            <a:pPr defTabSz="715963"/>
            <a:r>
              <a:rPr lang="en-GB" sz="2800" dirty="0">
                <a:latin typeface="Segoe UI"/>
                <a:ea typeface="+mj-ea"/>
                <a:cs typeface="Segoe UI"/>
              </a:rPr>
              <a:t>		Create a whole-firm annual calendar</a:t>
            </a:r>
          </a:p>
        </p:txBody>
      </p:sp>
      <p:pic>
        <p:nvPicPr>
          <p:cNvPr id="17" name="Picture 16">
            <a:extLst>
              <a:ext uri="{FF2B5EF4-FFF2-40B4-BE49-F238E27FC236}">
                <a16:creationId xmlns:a16="http://schemas.microsoft.com/office/drawing/2014/main" id="{F44FE4E2-442F-B73E-9374-4D3856039A55}"/>
              </a:ext>
            </a:extLst>
          </p:cNvPr>
          <p:cNvPicPr>
            <a:picLocks noChangeAspect="1"/>
          </p:cNvPicPr>
          <p:nvPr/>
        </p:nvPicPr>
        <p:blipFill rotWithShape="1">
          <a:blip r:embed="rId2"/>
          <a:srcRect l="13369" t="8696" r="13668" b="12609"/>
          <a:stretch/>
        </p:blipFill>
        <p:spPr>
          <a:xfrm>
            <a:off x="1400879" y="1008259"/>
            <a:ext cx="9390242" cy="569709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8" name="Google Shape;197;p27">
            <a:extLst>
              <a:ext uri="{FF2B5EF4-FFF2-40B4-BE49-F238E27FC236}">
                <a16:creationId xmlns:a16="http://schemas.microsoft.com/office/drawing/2014/main" id="{C492A502-7359-002C-D187-8F8035B2893C}"/>
              </a:ext>
            </a:extLst>
          </p:cNvPr>
          <p:cNvSpPr/>
          <p:nvPr/>
        </p:nvSpPr>
        <p:spPr>
          <a:xfrm>
            <a:off x="5221497" y="992865"/>
            <a:ext cx="2030750" cy="309724"/>
          </a:xfrm>
          <a:prstGeom prst="rect">
            <a:avLst/>
          </a:prstGeom>
          <a:noFill/>
          <a:ln>
            <a:noFill/>
          </a:ln>
        </p:spPr>
        <p:txBody>
          <a:bodyPr spcFirstLastPara="1" wrap="square" lIns="0" tIns="36000" rIns="0" bIns="36000" anchor="ctr" anchorCtr="0">
            <a:noAutofit/>
          </a:bodyPr>
          <a:lstStyle/>
          <a:p>
            <a:pPr algn="ctr"/>
            <a:r>
              <a:rPr lang="en-US" sz="1200" b="1" i="1" dirty="0">
                <a:latin typeface="Tahoma" panose="020B0604030504040204" pitchFamily="34" charset="0"/>
                <a:ea typeface="Tahoma" panose="020B0604030504040204" pitchFamily="34" charset="0"/>
                <a:cs typeface="Tahoma" panose="020B0604030504040204" pitchFamily="34" charset="0"/>
                <a:sym typeface="Arial"/>
              </a:rPr>
              <a:t>Simplified Example</a:t>
            </a:r>
            <a:endParaRPr b="1" i="1" dirty="0">
              <a:latin typeface="Tahoma" panose="020B0604030504040204" pitchFamily="34" charset="0"/>
              <a:ea typeface="Tahoma" panose="020B0604030504040204" pitchFamily="34" charset="0"/>
              <a:cs typeface="Tahoma" panose="020B0604030504040204" pitchFamily="34" charset="0"/>
            </a:endParaRPr>
          </a:p>
        </p:txBody>
      </p:sp>
      <p:sp>
        <p:nvSpPr>
          <p:cNvPr id="3" name="Arrow: Pentagon 2">
            <a:extLst>
              <a:ext uri="{FF2B5EF4-FFF2-40B4-BE49-F238E27FC236}">
                <a16:creationId xmlns:a16="http://schemas.microsoft.com/office/drawing/2014/main" id="{5A42C583-C566-916C-89DD-FFCF21CA5C33}"/>
              </a:ext>
            </a:extLst>
          </p:cNvPr>
          <p:cNvSpPr/>
          <p:nvPr/>
        </p:nvSpPr>
        <p:spPr>
          <a:xfrm>
            <a:off x="478481" y="168965"/>
            <a:ext cx="1449710" cy="609175"/>
          </a:xfrm>
          <a:prstGeom prst="homePlate">
            <a:avLst/>
          </a:prstGeom>
          <a:solidFill>
            <a:schemeClr val="tx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2400" b="1" dirty="0">
                <a:latin typeface="Tahoma" panose="020B0604030504040204" pitchFamily="34" charset="0"/>
                <a:ea typeface="Tahoma" panose="020B0604030504040204" pitchFamily="34" charset="0"/>
                <a:cs typeface="Tahoma" panose="020B0604030504040204" pitchFamily="34" charset="0"/>
              </a:rPr>
              <a:t>How?</a:t>
            </a:r>
          </a:p>
        </p:txBody>
      </p:sp>
    </p:spTree>
    <p:extLst>
      <p:ext uri="{BB962C8B-B14F-4D97-AF65-F5344CB8AC3E}">
        <p14:creationId xmlns:p14="http://schemas.microsoft.com/office/powerpoint/2010/main" val="11185291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E763FBE-315C-4C29-9FF7-1D0F3C4D11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16" imgH="318" progId="TCLayout.ActiveDocument.1">
                  <p:embed/>
                </p:oleObj>
              </mc:Choice>
              <mc:Fallback>
                <p:oleObj name="think-cell Slide" r:id="rId4" imgW="316" imgH="318" progId="TCLayout.ActiveDocument.1">
                  <p:embed/>
                  <p:pic>
                    <p:nvPicPr>
                      <p:cNvPr id="4" name="Object 3" hidden="1">
                        <a:extLst>
                          <a:ext uri="{FF2B5EF4-FFF2-40B4-BE49-F238E27FC236}">
                            <a16:creationId xmlns:a16="http://schemas.microsoft.com/office/drawing/2014/main" id="{AE763FBE-315C-4C29-9FF7-1D0F3C4D11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25D9FB2-6CBD-44B0-B548-9D59CE4C142B}"/>
              </a:ext>
            </a:extLst>
          </p:cNvPr>
          <p:cNvSpPr>
            <a:spLocks noGrp="1"/>
          </p:cNvSpPr>
          <p:nvPr>
            <p:ph type="title"/>
          </p:nvPr>
        </p:nvSpPr>
        <p:spPr>
          <a:xfrm>
            <a:off x="444705" y="285988"/>
            <a:ext cx="10515600" cy="387798"/>
          </a:xfrm>
        </p:spPr>
        <p:txBody>
          <a:bodyPr vert="horz" lIns="91440" tIns="45720" rIns="91440" bIns="45720" rtlCol="0" anchor="ctr">
            <a:noAutofit/>
          </a:bodyPr>
          <a:lstStyle/>
          <a:p>
            <a:r>
              <a:rPr lang="en-GB" dirty="0"/>
              <a:t>RAPID decision design framework</a:t>
            </a:r>
          </a:p>
        </p:txBody>
      </p:sp>
      <p:sp>
        <p:nvSpPr>
          <p:cNvPr id="115" name="Slide Number Placeholder 2">
            <a:extLst>
              <a:ext uri="{FF2B5EF4-FFF2-40B4-BE49-F238E27FC236}">
                <a16:creationId xmlns:a16="http://schemas.microsoft.com/office/drawing/2014/main" id="{FAC06FEA-9065-483E-95DA-EF99DC0D837C}"/>
              </a:ext>
            </a:extLst>
          </p:cNvPr>
          <p:cNvSpPr txBox="1">
            <a:spLocks/>
          </p:cNvSpPr>
          <p:nvPr/>
        </p:nvSpPr>
        <p:spPr>
          <a:xfrm>
            <a:off x="11192570" y="6246643"/>
            <a:ext cx="523737" cy="27699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609539" eaLnBrk="0" fontAlgn="base" hangingPunct="0"/>
            <a:fld id="{00000000-1234-1234-1234-123412341234}" type="slidenum">
              <a:rPr lang="en-GB" sz="1200" smtClean="0">
                <a:solidFill>
                  <a:srgbClr val="001132"/>
                </a:solidFill>
                <a:latin typeface="Calibri" panose="020F0502020204030204" pitchFamily="34" charset="0"/>
              </a:rPr>
              <a:pPr algn="r" defTabSz="609539" eaLnBrk="0" fontAlgn="base" hangingPunct="0"/>
              <a:t>19</a:t>
            </a:fld>
            <a:endParaRPr lang="en-GB" sz="1200" dirty="0">
              <a:solidFill>
                <a:srgbClr val="001132"/>
              </a:solidFill>
              <a:latin typeface="Calibri" panose="020F0502020204030204" pitchFamily="34" charset="0"/>
            </a:endParaRPr>
          </a:p>
        </p:txBody>
      </p:sp>
      <p:grpSp>
        <p:nvGrpSpPr>
          <p:cNvPr id="3" name="Group 2">
            <a:extLst>
              <a:ext uri="{FF2B5EF4-FFF2-40B4-BE49-F238E27FC236}">
                <a16:creationId xmlns:a16="http://schemas.microsoft.com/office/drawing/2014/main" id="{24E46375-4F2D-B265-377F-E2383C944EE3}"/>
              </a:ext>
            </a:extLst>
          </p:cNvPr>
          <p:cNvGrpSpPr/>
          <p:nvPr/>
        </p:nvGrpSpPr>
        <p:grpSpPr>
          <a:xfrm>
            <a:off x="838200" y="1449135"/>
            <a:ext cx="10878107" cy="4650366"/>
            <a:chOff x="838200" y="1449135"/>
            <a:chExt cx="10878107" cy="4650366"/>
          </a:xfrm>
        </p:grpSpPr>
        <p:cxnSp>
          <p:nvCxnSpPr>
            <p:cNvPr id="48" name="Straight Connector 47">
              <a:extLst>
                <a:ext uri="{FF2B5EF4-FFF2-40B4-BE49-F238E27FC236}">
                  <a16:creationId xmlns:a16="http://schemas.microsoft.com/office/drawing/2014/main" id="{ECDDCBD1-6CE7-4E50-B165-F5CB0D469794}"/>
                </a:ext>
              </a:extLst>
            </p:cNvPr>
            <p:cNvCxnSpPr>
              <a:cxnSpLocks/>
            </p:cNvCxnSpPr>
            <p:nvPr/>
          </p:nvCxnSpPr>
          <p:spPr>
            <a:xfrm>
              <a:off x="3419971" y="2378295"/>
              <a:ext cx="0" cy="243833"/>
            </a:xfrm>
            <a:prstGeom prst="line">
              <a:avLst/>
            </a:prstGeom>
            <a:ln w="12700">
              <a:solidFill>
                <a:srgbClr val="CC6666"/>
              </a:solidFill>
              <a:tailEnd type="ova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0F50F71-43B1-48EB-B3FA-E8B7F6DDAC1A}"/>
                </a:ext>
              </a:extLst>
            </p:cNvPr>
            <p:cNvCxnSpPr>
              <a:cxnSpLocks/>
            </p:cNvCxnSpPr>
            <p:nvPr/>
          </p:nvCxnSpPr>
          <p:spPr>
            <a:xfrm flipV="1">
              <a:off x="10832683" y="3498850"/>
              <a:ext cx="0" cy="1245546"/>
            </a:xfrm>
            <a:prstGeom prst="line">
              <a:avLst/>
            </a:prstGeom>
            <a:ln w="12700">
              <a:solidFill>
                <a:srgbClr val="FFE433"/>
              </a:solidFill>
              <a:tailEnd type="oval"/>
            </a:ln>
          </p:spPr>
          <p:style>
            <a:lnRef idx="1">
              <a:schemeClr val="accent1"/>
            </a:lnRef>
            <a:fillRef idx="0">
              <a:schemeClr val="accent1"/>
            </a:fillRef>
            <a:effectRef idx="0">
              <a:schemeClr val="accent1"/>
            </a:effectRef>
            <a:fontRef idx="minor">
              <a:schemeClr val="tx1"/>
            </a:fontRef>
          </p:style>
        </p:cxnSp>
        <p:cxnSp>
          <p:nvCxnSpPr>
            <p:cNvPr id="33" name="Connector: Elbow 32">
              <a:extLst>
                <a:ext uri="{FF2B5EF4-FFF2-40B4-BE49-F238E27FC236}">
                  <a16:creationId xmlns:a16="http://schemas.microsoft.com/office/drawing/2014/main" id="{A015F0D9-5DF0-424A-9084-0CF783C9506F}"/>
                </a:ext>
              </a:extLst>
            </p:cNvPr>
            <p:cNvCxnSpPr>
              <a:cxnSpLocks/>
              <a:stCxn id="28" idx="0"/>
              <a:endCxn id="31" idx="2"/>
            </p:cNvCxnSpPr>
            <p:nvPr/>
          </p:nvCxnSpPr>
          <p:spPr>
            <a:xfrm rot="5400000" flipH="1" flipV="1">
              <a:off x="2597301" y="2899425"/>
              <a:ext cx="307326" cy="1338015"/>
            </a:xfrm>
            <a:prstGeom prst="bentConnector3">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ECF9B3A9-E745-46BA-8942-8CAC8C4BEE01}"/>
                </a:ext>
              </a:extLst>
            </p:cNvPr>
            <p:cNvCxnSpPr>
              <a:cxnSpLocks/>
              <a:stCxn id="29" idx="0"/>
              <a:endCxn id="31" idx="2"/>
            </p:cNvCxnSpPr>
            <p:nvPr/>
          </p:nvCxnSpPr>
          <p:spPr>
            <a:xfrm rot="16200000" flipV="1">
              <a:off x="3935316" y="2899425"/>
              <a:ext cx="307326" cy="1338014"/>
            </a:xfrm>
            <a:prstGeom prst="bentConnector3">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id="{F3A7B61B-A981-4D1C-A14E-DEFB3C4957D9}"/>
                </a:ext>
              </a:extLst>
            </p:cNvPr>
            <p:cNvCxnSpPr>
              <a:cxnSpLocks/>
              <a:stCxn id="31" idx="3"/>
              <a:endCxn id="32" idx="1"/>
            </p:cNvCxnSpPr>
            <p:nvPr/>
          </p:nvCxnSpPr>
          <p:spPr>
            <a:xfrm>
              <a:off x="4663728" y="3057282"/>
              <a:ext cx="1038777"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05438FE4-B664-4141-BE38-DC2B3DC8DBD1}"/>
                </a:ext>
              </a:extLst>
            </p:cNvPr>
            <p:cNvCxnSpPr>
              <a:cxnSpLocks/>
              <a:stCxn id="32" idx="3"/>
              <a:endCxn id="30" idx="1"/>
            </p:cNvCxnSpPr>
            <p:nvPr/>
          </p:nvCxnSpPr>
          <p:spPr>
            <a:xfrm>
              <a:off x="8190018" y="3057282"/>
              <a:ext cx="1038776"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28" name="Rectangle 45">
              <a:extLst>
                <a:ext uri="{FF2B5EF4-FFF2-40B4-BE49-F238E27FC236}">
                  <a16:creationId xmlns:a16="http://schemas.microsoft.com/office/drawing/2014/main" id="{3FC1C7F9-DCEE-436E-86AF-3F04E622818B}"/>
                </a:ext>
              </a:extLst>
            </p:cNvPr>
            <p:cNvSpPr>
              <a:spLocks noChangeArrowheads="1"/>
            </p:cNvSpPr>
            <p:nvPr/>
          </p:nvSpPr>
          <p:spPr bwMode="auto">
            <a:xfrm>
              <a:off x="838200" y="3722095"/>
              <a:ext cx="2487513" cy="714975"/>
            </a:xfrm>
            <a:prstGeom prst="rect">
              <a:avLst/>
            </a:prstGeom>
            <a:solidFill>
              <a:srgbClr val="99CCFF"/>
            </a:solidFill>
            <a:ln w="19050" algn="ctr">
              <a:solidFill>
                <a:srgbClr val="99CCFF"/>
              </a:solidFill>
              <a:miter lim="800000"/>
              <a:headEnd/>
              <a:tailEnd/>
            </a:ln>
            <a:effectLst/>
          </p:spPr>
          <p:txBody>
            <a:bodyPr wrap="none" lIns="28883" tIns="28883" rIns="28883" bIns="28883" anchor="ctr"/>
            <a:lstStyle>
              <a:lvl1pPr defTabSz="892175">
                <a:defRPr sz="2400">
                  <a:solidFill>
                    <a:schemeClr val="tx1"/>
                  </a:solidFill>
                  <a:latin typeface="Times New Roman" panose="02020603050405020304" pitchFamily="18" charset="0"/>
                </a:defRPr>
              </a:lvl1pPr>
              <a:lvl2pPr marL="446088" defTabSz="892175">
                <a:defRPr sz="2400">
                  <a:solidFill>
                    <a:schemeClr val="tx1"/>
                  </a:solidFill>
                  <a:latin typeface="Times New Roman" panose="02020603050405020304" pitchFamily="18" charset="0"/>
                </a:defRPr>
              </a:lvl2pPr>
              <a:lvl3pPr marL="892175" defTabSz="892175">
                <a:defRPr sz="2400">
                  <a:solidFill>
                    <a:schemeClr val="tx1"/>
                  </a:solidFill>
                  <a:latin typeface="Times New Roman" panose="02020603050405020304" pitchFamily="18" charset="0"/>
                </a:defRPr>
              </a:lvl3pPr>
              <a:lvl4pPr marL="1338263" defTabSz="892175">
                <a:defRPr sz="2400">
                  <a:solidFill>
                    <a:schemeClr val="tx1"/>
                  </a:solidFill>
                  <a:latin typeface="Times New Roman" panose="02020603050405020304" pitchFamily="18" charset="0"/>
                </a:defRPr>
              </a:lvl4pPr>
              <a:lvl5pPr marL="1784350" defTabSz="892175">
                <a:defRPr sz="2400">
                  <a:solidFill>
                    <a:schemeClr val="tx1"/>
                  </a:solidFill>
                  <a:latin typeface="Times New Roman" panose="02020603050405020304" pitchFamily="18" charset="0"/>
                </a:defRPr>
              </a:lvl5pPr>
              <a:lvl6pPr marL="2241550" defTabSz="892175" eaLnBrk="0" fontAlgn="base" hangingPunct="0">
                <a:spcBef>
                  <a:spcPct val="0"/>
                </a:spcBef>
                <a:spcAft>
                  <a:spcPct val="0"/>
                </a:spcAft>
                <a:defRPr sz="2400">
                  <a:solidFill>
                    <a:schemeClr val="tx1"/>
                  </a:solidFill>
                  <a:latin typeface="Times New Roman" panose="02020603050405020304" pitchFamily="18" charset="0"/>
                </a:defRPr>
              </a:lvl6pPr>
              <a:lvl7pPr marL="2698750" defTabSz="892175" eaLnBrk="0" fontAlgn="base" hangingPunct="0">
                <a:spcBef>
                  <a:spcPct val="0"/>
                </a:spcBef>
                <a:spcAft>
                  <a:spcPct val="0"/>
                </a:spcAft>
                <a:defRPr sz="2400">
                  <a:solidFill>
                    <a:schemeClr val="tx1"/>
                  </a:solidFill>
                  <a:latin typeface="Times New Roman" panose="02020603050405020304" pitchFamily="18" charset="0"/>
                </a:defRPr>
              </a:lvl7pPr>
              <a:lvl8pPr marL="3155950" defTabSz="892175" eaLnBrk="0" fontAlgn="base" hangingPunct="0">
                <a:spcBef>
                  <a:spcPct val="0"/>
                </a:spcBef>
                <a:spcAft>
                  <a:spcPct val="0"/>
                </a:spcAft>
                <a:defRPr sz="2400">
                  <a:solidFill>
                    <a:schemeClr val="tx1"/>
                  </a:solidFill>
                  <a:latin typeface="Times New Roman" panose="02020603050405020304" pitchFamily="18" charset="0"/>
                </a:defRPr>
              </a:lvl8pPr>
              <a:lvl9pPr marL="3613150" defTabSz="892175"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ctr" defTabSz="594724" rtl="0" eaLnBrk="0" fontAlgn="base" latinLnBrk="0" hangingPunct="0">
                <a:lnSpc>
                  <a:spcPct val="100000"/>
                </a:lnSpc>
                <a:spcBef>
                  <a:spcPct val="0"/>
                </a:spcBef>
                <a:spcAft>
                  <a:spcPct val="0"/>
                </a:spcAft>
                <a:buClrTx/>
                <a:buSzTx/>
                <a:buFontTx/>
                <a:buNone/>
                <a:tabLst/>
                <a:defRPr/>
              </a:pPr>
              <a:r>
                <a:rPr kumimoji="0" lang="en-GB" altLang="en-US" sz="3000" b="1"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I</a:t>
              </a:r>
              <a:r>
                <a:rPr kumimoji="0" lang="en-GB" altLang="en-US" sz="2000" b="0"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nput</a:t>
              </a:r>
            </a:p>
          </p:txBody>
        </p:sp>
        <p:sp>
          <p:nvSpPr>
            <p:cNvPr id="29" name="Rectangle 46">
              <a:extLst>
                <a:ext uri="{FF2B5EF4-FFF2-40B4-BE49-F238E27FC236}">
                  <a16:creationId xmlns:a16="http://schemas.microsoft.com/office/drawing/2014/main" id="{132F6A50-DB98-4F16-B468-601C87181E83}"/>
                </a:ext>
              </a:extLst>
            </p:cNvPr>
            <p:cNvSpPr>
              <a:spLocks noChangeArrowheads="1"/>
            </p:cNvSpPr>
            <p:nvPr/>
          </p:nvSpPr>
          <p:spPr bwMode="auto">
            <a:xfrm>
              <a:off x="3514229" y="3722095"/>
              <a:ext cx="2487513" cy="714975"/>
            </a:xfrm>
            <a:prstGeom prst="rect">
              <a:avLst/>
            </a:prstGeom>
            <a:solidFill>
              <a:srgbClr val="0066CC"/>
            </a:solidFill>
            <a:ln w="19050" algn="ctr">
              <a:solidFill>
                <a:srgbClr val="0066CC"/>
              </a:solidFill>
              <a:miter lim="800000"/>
              <a:headEnd/>
              <a:tailEnd/>
            </a:ln>
            <a:effectLst/>
          </p:spPr>
          <p:txBody>
            <a:bodyPr wrap="none" lIns="28883" tIns="28883" rIns="28883" bIns="28883" anchor="ctr"/>
            <a:lstStyle>
              <a:lvl1pPr defTabSz="892175">
                <a:defRPr sz="2400">
                  <a:solidFill>
                    <a:schemeClr val="tx1"/>
                  </a:solidFill>
                  <a:latin typeface="Times New Roman" panose="02020603050405020304" pitchFamily="18" charset="0"/>
                </a:defRPr>
              </a:lvl1pPr>
              <a:lvl2pPr marL="446088" defTabSz="892175">
                <a:defRPr sz="2400">
                  <a:solidFill>
                    <a:schemeClr val="tx1"/>
                  </a:solidFill>
                  <a:latin typeface="Times New Roman" panose="02020603050405020304" pitchFamily="18" charset="0"/>
                </a:defRPr>
              </a:lvl2pPr>
              <a:lvl3pPr marL="892175" defTabSz="892175">
                <a:defRPr sz="2400">
                  <a:solidFill>
                    <a:schemeClr val="tx1"/>
                  </a:solidFill>
                  <a:latin typeface="Times New Roman" panose="02020603050405020304" pitchFamily="18" charset="0"/>
                </a:defRPr>
              </a:lvl3pPr>
              <a:lvl4pPr marL="1338263" defTabSz="892175">
                <a:defRPr sz="2400">
                  <a:solidFill>
                    <a:schemeClr val="tx1"/>
                  </a:solidFill>
                  <a:latin typeface="Times New Roman" panose="02020603050405020304" pitchFamily="18" charset="0"/>
                </a:defRPr>
              </a:lvl4pPr>
              <a:lvl5pPr marL="1784350" defTabSz="892175">
                <a:defRPr sz="2400">
                  <a:solidFill>
                    <a:schemeClr val="tx1"/>
                  </a:solidFill>
                  <a:latin typeface="Times New Roman" panose="02020603050405020304" pitchFamily="18" charset="0"/>
                </a:defRPr>
              </a:lvl5pPr>
              <a:lvl6pPr marL="2241550" defTabSz="892175" eaLnBrk="0" fontAlgn="base" hangingPunct="0">
                <a:spcBef>
                  <a:spcPct val="0"/>
                </a:spcBef>
                <a:spcAft>
                  <a:spcPct val="0"/>
                </a:spcAft>
                <a:defRPr sz="2400">
                  <a:solidFill>
                    <a:schemeClr val="tx1"/>
                  </a:solidFill>
                  <a:latin typeface="Times New Roman" panose="02020603050405020304" pitchFamily="18" charset="0"/>
                </a:defRPr>
              </a:lvl6pPr>
              <a:lvl7pPr marL="2698750" defTabSz="892175" eaLnBrk="0" fontAlgn="base" hangingPunct="0">
                <a:spcBef>
                  <a:spcPct val="0"/>
                </a:spcBef>
                <a:spcAft>
                  <a:spcPct val="0"/>
                </a:spcAft>
                <a:defRPr sz="2400">
                  <a:solidFill>
                    <a:schemeClr val="tx1"/>
                  </a:solidFill>
                  <a:latin typeface="Times New Roman" panose="02020603050405020304" pitchFamily="18" charset="0"/>
                </a:defRPr>
              </a:lvl7pPr>
              <a:lvl8pPr marL="3155950" defTabSz="892175" eaLnBrk="0" fontAlgn="base" hangingPunct="0">
                <a:spcBef>
                  <a:spcPct val="0"/>
                </a:spcBef>
                <a:spcAft>
                  <a:spcPct val="0"/>
                </a:spcAft>
                <a:defRPr sz="2400">
                  <a:solidFill>
                    <a:schemeClr val="tx1"/>
                  </a:solidFill>
                  <a:latin typeface="Times New Roman" panose="02020603050405020304" pitchFamily="18" charset="0"/>
                </a:defRPr>
              </a:lvl8pPr>
              <a:lvl9pPr marL="3613150" defTabSz="892175"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ctr" defTabSz="594724" rtl="0" eaLnBrk="0" fontAlgn="base" latinLnBrk="0" hangingPunct="0">
                <a:lnSpc>
                  <a:spcPct val="100000"/>
                </a:lnSpc>
                <a:spcBef>
                  <a:spcPct val="0"/>
                </a:spcBef>
                <a:spcAft>
                  <a:spcPct val="0"/>
                </a:spcAft>
                <a:buClrTx/>
                <a:buSzTx/>
                <a:buFontTx/>
                <a:buNone/>
                <a:tabLst/>
                <a:defRPr/>
              </a:pPr>
              <a:r>
                <a:rPr kumimoji="0" lang="en-GB" altLang="en-US" sz="3000" b="1"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A</a:t>
              </a:r>
              <a:r>
                <a:rPr kumimoji="0" lang="en-GB" altLang="en-US" sz="2000" b="0"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gree</a:t>
              </a:r>
            </a:p>
          </p:txBody>
        </p:sp>
        <p:sp>
          <p:nvSpPr>
            <p:cNvPr id="30" name="Rectangle 47">
              <a:extLst>
                <a:ext uri="{FF2B5EF4-FFF2-40B4-BE49-F238E27FC236}">
                  <a16:creationId xmlns:a16="http://schemas.microsoft.com/office/drawing/2014/main" id="{A4B57BDC-BDA6-4191-AA54-AE9F00EB8393}"/>
                </a:ext>
              </a:extLst>
            </p:cNvPr>
            <p:cNvSpPr>
              <a:spLocks noChangeArrowheads="1"/>
            </p:cNvSpPr>
            <p:nvPr/>
          </p:nvSpPr>
          <p:spPr bwMode="auto">
            <a:xfrm>
              <a:off x="9228794" y="2699794"/>
              <a:ext cx="2487513" cy="714975"/>
            </a:xfrm>
            <a:prstGeom prst="rect">
              <a:avLst/>
            </a:prstGeom>
            <a:solidFill>
              <a:srgbClr val="FFE433"/>
            </a:solidFill>
            <a:ln w="19050" algn="ctr">
              <a:solidFill>
                <a:srgbClr val="FFE433"/>
              </a:solidFill>
              <a:miter lim="800000"/>
              <a:headEnd/>
              <a:tailEnd/>
            </a:ln>
            <a:effectLst/>
          </p:spPr>
          <p:txBody>
            <a:bodyPr wrap="none" lIns="28883" tIns="28883" rIns="28883" bIns="28883" anchor="ctr"/>
            <a:lstStyle>
              <a:lvl1pPr defTabSz="892175">
                <a:defRPr sz="2400">
                  <a:solidFill>
                    <a:schemeClr val="tx1"/>
                  </a:solidFill>
                  <a:latin typeface="Times New Roman" panose="02020603050405020304" pitchFamily="18" charset="0"/>
                </a:defRPr>
              </a:lvl1pPr>
              <a:lvl2pPr marL="446088" defTabSz="892175">
                <a:defRPr sz="2400">
                  <a:solidFill>
                    <a:schemeClr val="tx1"/>
                  </a:solidFill>
                  <a:latin typeface="Times New Roman" panose="02020603050405020304" pitchFamily="18" charset="0"/>
                </a:defRPr>
              </a:lvl2pPr>
              <a:lvl3pPr marL="892175" defTabSz="892175">
                <a:defRPr sz="2400">
                  <a:solidFill>
                    <a:schemeClr val="tx1"/>
                  </a:solidFill>
                  <a:latin typeface="Times New Roman" panose="02020603050405020304" pitchFamily="18" charset="0"/>
                </a:defRPr>
              </a:lvl3pPr>
              <a:lvl4pPr marL="1338263" defTabSz="892175">
                <a:defRPr sz="2400">
                  <a:solidFill>
                    <a:schemeClr val="tx1"/>
                  </a:solidFill>
                  <a:latin typeface="Times New Roman" panose="02020603050405020304" pitchFamily="18" charset="0"/>
                </a:defRPr>
              </a:lvl4pPr>
              <a:lvl5pPr marL="1784350" defTabSz="892175">
                <a:defRPr sz="2400">
                  <a:solidFill>
                    <a:schemeClr val="tx1"/>
                  </a:solidFill>
                  <a:latin typeface="Times New Roman" panose="02020603050405020304" pitchFamily="18" charset="0"/>
                </a:defRPr>
              </a:lvl5pPr>
              <a:lvl6pPr marL="2241550" defTabSz="892175" eaLnBrk="0" fontAlgn="base" hangingPunct="0">
                <a:spcBef>
                  <a:spcPct val="0"/>
                </a:spcBef>
                <a:spcAft>
                  <a:spcPct val="0"/>
                </a:spcAft>
                <a:defRPr sz="2400">
                  <a:solidFill>
                    <a:schemeClr val="tx1"/>
                  </a:solidFill>
                  <a:latin typeface="Times New Roman" panose="02020603050405020304" pitchFamily="18" charset="0"/>
                </a:defRPr>
              </a:lvl6pPr>
              <a:lvl7pPr marL="2698750" defTabSz="892175" eaLnBrk="0" fontAlgn="base" hangingPunct="0">
                <a:spcBef>
                  <a:spcPct val="0"/>
                </a:spcBef>
                <a:spcAft>
                  <a:spcPct val="0"/>
                </a:spcAft>
                <a:defRPr sz="2400">
                  <a:solidFill>
                    <a:schemeClr val="tx1"/>
                  </a:solidFill>
                  <a:latin typeface="Times New Roman" panose="02020603050405020304" pitchFamily="18" charset="0"/>
                </a:defRPr>
              </a:lvl7pPr>
              <a:lvl8pPr marL="3155950" defTabSz="892175" eaLnBrk="0" fontAlgn="base" hangingPunct="0">
                <a:spcBef>
                  <a:spcPct val="0"/>
                </a:spcBef>
                <a:spcAft>
                  <a:spcPct val="0"/>
                </a:spcAft>
                <a:defRPr sz="2400">
                  <a:solidFill>
                    <a:schemeClr val="tx1"/>
                  </a:solidFill>
                  <a:latin typeface="Times New Roman" panose="02020603050405020304" pitchFamily="18" charset="0"/>
                </a:defRPr>
              </a:lvl8pPr>
              <a:lvl9pPr marL="3613150" defTabSz="892175"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ctr" defTabSz="594724" rtl="0" eaLnBrk="0" fontAlgn="base" latinLnBrk="0" hangingPunct="0">
                <a:lnSpc>
                  <a:spcPct val="100000"/>
                </a:lnSpc>
                <a:spcBef>
                  <a:spcPct val="0"/>
                </a:spcBef>
                <a:spcAft>
                  <a:spcPct val="0"/>
                </a:spcAft>
                <a:buClrTx/>
                <a:buSzTx/>
                <a:buFontTx/>
                <a:buNone/>
                <a:tabLst/>
                <a:defRPr/>
              </a:pPr>
              <a:r>
                <a:rPr kumimoji="0" lang="en-GB" altLang="en-US" sz="3000" b="1"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P</a:t>
              </a:r>
              <a:r>
                <a:rPr kumimoji="0" lang="en-GB" altLang="en-US" sz="2000" b="0"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erform</a:t>
              </a:r>
            </a:p>
          </p:txBody>
        </p:sp>
        <p:sp>
          <p:nvSpPr>
            <p:cNvPr id="31" name="Rectangle 48">
              <a:extLst>
                <a:ext uri="{FF2B5EF4-FFF2-40B4-BE49-F238E27FC236}">
                  <a16:creationId xmlns:a16="http://schemas.microsoft.com/office/drawing/2014/main" id="{D6C41BAA-24BD-4F36-8B5E-B0756F2F8AD1}"/>
                </a:ext>
              </a:extLst>
            </p:cNvPr>
            <p:cNvSpPr>
              <a:spLocks noChangeArrowheads="1"/>
            </p:cNvSpPr>
            <p:nvPr/>
          </p:nvSpPr>
          <p:spPr bwMode="auto">
            <a:xfrm>
              <a:off x="2176215" y="2699794"/>
              <a:ext cx="2487513" cy="714975"/>
            </a:xfrm>
            <a:prstGeom prst="rect">
              <a:avLst/>
            </a:prstGeom>
            <a:solidFill>
              <a:srgbClr val="CC6666"/>
            </a:solidFill>
            <a:ln w="19050" algn="ctr">
              <a:solidFill>
                <a:srgbClr val="CC6666"/>
              </a:solidFill>
              <a:miter lim="800000"/>
              <a:headEnd/>
              <a:tailEnd/>
            </a:ln>
            <a:effectLst/>
          </p:spPr>
          <p:txBody>
            <a:bodyPr wrap="none" lIns="28883" tIns="28883" rIns="28883" bIns="28883" anchor="ctr"/>
            <a:lstStyle>
              <a:lvl1pPr defTabSz="892175">
                <a:defRPr sz="2400">
                  <a:solidFill>
                    <a:schemeClr val="tx1"/>
                  </a:solidFill>
                  <a:latin typeface="Times New Roman" panose="02020603050405020304" pitchFamily="18" charset="0"/>
                </a:defRPr>
              </a:lvl1pPr>
              <a:lvl2pPr marL="446088" defTabSz="892175">
                <a:defRPr sz="2400">
                  <a:solidFill>
                    <a:schemeClr val="tx1"/>
                  </a:solidFill>
                  <a:latin typeface="Times New Roman" panose="02020603050405020304" pitchFamily="18" charset="0"/>
                </a:defRPr>
              </a:lvl2pPr>
              <a:lvl3pPr marL="892175" defTabSz="892175">
                <a:defRPr sz="2400">
                  <a:solidFill>
                    <a:schemeClr val="tx1"/>
                  </a:solidFill>
                  <a:latin typeface="Times New Roman" panose="02020603050405020304" pitchFamily="18" charset="0"/>
                </a:defRPr>
              </a:lvl3pPr>
              <a:lvl4pPr marL="1338263" defTabSz="892175">
                <a:defRPr sz="2400">
                  <a:solidFill>
                    <a:schemeClr val="tx1"/>
                  </a:solidFill>
                  <a:latin typeface="Times New Roman" panose="02020603050405020304" pitchFamily="18" charset="0"/>
                </a:defRPr>
              </a:lvl4pPr>
              <a:lvl5pPr marL="1784350" defTabSz="892175">
                <a:defRPr sz="2400">
                  <a:solidFill>
                    <a:schemeClr val="tx1"/>
                  </a:solidFill>
                  <a:latin typeface="Times New Roman" panose="02020603050405020304" pitchFamily="18" charset="0"/>
                </a:defRPr>
              </a:lvl5pPr>
              <a:lvl6pPr marL="2241550" defTabSz="892175" eaLnBrk="0" fontAlgn="base" hangingPunct="0">
                <a:spcBef>
                  <a:spcPct val="0"/>
                </a:spcBef>
                <a:spcAft>
                  <a:spcPct val="0"/>
                </a:spcAft>
                <a:defRPr sz="2400">
                  <a:solidFill>
                    <a:schemeClr val="tx1"/>
                  </a:solidFill>
                  <a:latin typeface="Times New Roman" panose="02020603050405020304" pitchFamily="18" charset="0"/>
                </a:defRPr>
              </a:lvl6pPr>
              <a:lvl7pPr marL="2698750" defTabSz="892175" eaLnBrk="0" fontAlgn="base" hangingPunct="0">
                <a:spcBef>
                  <a:spcPct val="0"/>
                </a:spcBef>
                <a:spcAft>
                  <a:spcPct val="0"/>
                </a:spcAft>
                <a:defRPr sz="2400">
                  <a:solidFill>
                    <a:schemeClr val="tx1"/>
                  </a:solidFill>
                  <a:latin typeface="Times New Roman" panose="02020603050405020304" pitchFamily="18" charset="0"/>
                </a:defRPr>
              </a:lvl7pPr>
              <a:lvl8pPr marL="3155950" defTabSz="892175" eaLnBrk="0" fontAlgn="base" hangingPunct="0">
                <a:spcBef>
                  <a:spcPct val="0"/>
                </a:spcBef>
                <a:spcAft>
                  <a:spcPct val="0"/>
                </a:spcAft>
                <a:defRPr sz="2400">
                  <a:solidFill>
                    <a:schemeClr val="tx1"/>
                  </a:solidFill>
                  <a:latin typeface="Times New Roman" panose="02020603050405020304" pitchFamily="18" charset="0"/>
                </a:defRPr>
              </a:lvl8pPr>
              <a:lvl9pPr marL="3613150" defTabSz="892175"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ctr" defTabSz="594724" rtl="0" eaLnBrk="0" fontAlgn="base" latinLnBrk="0" hangingPunct="0">
                <a:lnSpc>
                  <a:spcPct val="100000"/>
                </a:lnSpc>
                <a:spcBef>
                  <a:spcPct val="0"/>
                </a:spcBef>
                <a:spcAft>
                  <a:spcPct val="0"/>
                </a:spcAft>
                <a:buClrTx/>
                <a:buSzTx/>
                <a:buFontTx/>
                <a:buNone/>
                <a:tabLst/>
                <a:defRPr/>
              </a:pPr>
              <a:r>
                <a:rPr kumimoji="0" lang="en-GB" altLang="en-US" sz="3000" b="1"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R</a:t>
              </a:r>
              <a:r>
                <a:rPr kumimoji="0" lang="en-GB" altLang="en-US" sz="2000" b="0"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ecommend</a:t>
              </a:r>
            </a:p>
          </p:txBody>
        </p:sp>
        <p:sp>
          <p:nvSpPr>
            <p:cNvPr id="32" name="Rectangle 44">
              <a:extLst>
                <a:ext uri="{FF2B5EF4-FFF2-40B4-BE49-F238E27FC236}">
                  <a16:creationId xmlns:a16="http://schemas.microsoft.com/office/drawing/2014/main" id="{B15F07C8-2793-4807-860E-6EDF019D973D}"/>
                </a:ext>
              </a:extLst>
            </p:cNvPr>
            <p:cNvSpPr>
              <a:spLocks noChangeArrowheads="1"/>
            </p:cNvSpPr>
            <p:nvPr/>
          </p:nvSpPr>
          <p:spPr bwMode="auto">
            <a:xfrm>
              <a:off x="5702505" y="2699794"/>
              <a:ext cx="2487513" cy="714975"/>
            </a:xfrm>
            <a:prstGeom prst="rect">
              <a:avLst/>
            </a:prstGeom>
            <a:solidFill>
              <a:srgbClr val="339966"/>
            </a:solidFill>
            <a:ln w="19050" algn="ctr">
              <a:solidFill>
                <a:srgbClr val="339966"/>
              </a:solidFill>
              <a:miter lim="800000"/>
              <a:headEnd/>
              <a:tailEnd/>
            </a:ln>
            <a:effectLst/>
          </p:spPr>
          <p:txBody>
            <a:bodyPr wrap="none" lIns="28883" tIns="28883" rIns="28883" bIns="28883" anchor="ctr"/>
            <a:lstStyle>
              <a:lvl1pPr defTabSz="892175">
                <a:defRPr sz="2400">
                  <a:solidFill>
                    <a:schemeClr val="tx1"/>
                  </a:solidFill>
                  <a:latin typeface="Times New Roman" panose="02020603050405020304" pitchFamily="18" charset="0"/>
                </a:defRPr>
              </a:lvl1pPr>
              <a:lvl2pPr marL="446088" defTabSz="892175">
                <a:defRPr sz="2400">
                  <a:solidFill>
                    <a:schemeClr val="tx1"/>
                  </a:solidFill>
                  <a:latin typeface="Times New Roman" panose="02020603050405020304" pitchFamily="18" charset="0"/>
                </a:defRPr>
              </a:lvl2pPr>
              <a:lvl3pPr marL="892175" defTabSz="892175">
                <a:defRPr sz="2400">
                  <a:solidFill>
                    <a:schemeClr val="tx1"/>
                  </a:solidFill>
                  <a:latin typeface="Times New Roman" panose="02020603050405020304" pitchFamily="18" charset="0"/>
                </a:defRPr>
              </a:lvl3pPr>
              <a:lvl4pPr marL="1338263" defTabSz="892175">
                <a:defRPr sz="2400">
                  <a:solidFill>
                    <a:schemeClr val="tx1"/>
                  </a:solidFill>
                  <a:latin typeface="Times New Roman" panose="02020603050405020304" pitchFamily="18" charset="0"/>
                </a:defRPr>
              </a:lvl4pPr>
              <a:lvl5pPr marL="1784350" defTabSz="892175">
                <a:defRPr sz="2400">
                  <a:solidFill>
                    <a:schemeClr val="tx1"/>
                  </a:solidFill>
                  <a:latin typeface="Times New Roman" panose="02020603050405020304" pitchFamily="18" charset="0"/>
                </a:defRPr>
              </a:lvl5pPr>
              <a:lvl6pPr marL="2241550" defTabSz="892175" eaLnBrk="0" fontAlgn="base" hangingPunct="0">
                <a:spcBef>
                  <a:spcPct val="0"/>
                </a:spcBef>
                <a:spcAft>
                  <a:spcPct val="0"/>
                </a:spcAft>
                <a:defRPr sz="2400">
                  <a:solidFill>
                    <a:schemeClr val="tx1"/>
                  </a:solidFill>
                  <a:latin typeface="Times New Roman" panose="02020603050405020304" pitchFamily="18" charset="0"/>
                </a:defRPr>
              </a:lvl6pPr>
              <a:lvl7pPr marL="2698750" defTabSz="892175" eaLnBrk="0" fontAlgn="base" hangingPunct="0">
                <a:spcBef>
                  <a:spcPct val="0"/>
                </a:spcBef>
                <a:spcAft>
                  <a:spcPct val="0"/>
                </a:spcAft>
                <a:defRPr sz="2400">
                  <a:solidFill>
                    <a:schemeClr val="tx1"/>
                  </a:solidFill>
                  <a:latin typeface="Times New Roman" panose="02020603050405020304" pitchFamily="18" charset="0"/>
                </a:defRPr>
              </a:lvl7pPr>
              <a:lvl8pPr marL="3155950" defTabSz="892175" eaLnBrk="0" fontAlgn="base" hangingPunct="0">
                <a:spcBef>
                  <a:spcPct val="0"/>
                </a:spcBef>
                <a:spcAft>
                  <a:spcPct val="0"/>
                </a:spcAft>
                <a:defRPr sz="2400">
                  <a:solidFill>
                    <a:schemeClr val="tx1"/>
                  </a:solidFill>
                  <a:latin typeface="Times New Roman" panose="02020603050405020304" pitchFamily="18" charset="0"/>
                </a:defRPr>
              </a:lvl8pPr>
              <a:lvl9pPr marL="3613150" defTabSz="892175"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ctr" defTabSz="594724" rtl="0" eaLnBrk="0" fontAlgn="base" latinLnBrk="0" hangingPunct="0">
                <a:lnSpc>
                  <a:spcPct val="100000"/>
                </a:lnSpc>
                <a:spcBef>
                  <a:spcPct val="20000"/>
                </a:spcBef>
                <a:spcAft>
                  <a:spcPct val="0"/>
                </a:spcAft>
                <a:buClrTx/>
                <a:buSzTx/>
                <a:buFontTx/>
                <a:buNone/>
                <a:tabLst/>
                <a:defRPr/>
              </a:pPr>
              <a:r>
                <a:rPr kumimoji="0" lang="en-GB" altLang="en-US" sz="3000" b="1"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D</a:t>
              </a:r>
              <a:r>
                <a:rPr kumimoji="0" lang="en-GB" altLang="en-US" sz="2000" b="0"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ecide</a:t>
              </a:r>
            </a:p>
          </p:txBody>
        </p:sp>
        <p:sp>
          <p:nvSpPr>
            <p:cNvPr id="39" name="AutoShape 13">
              <a:extLst>
                <a:ext uri="{FF2B5EF4-FFF2-40B4-BE49-F238E27FC236}">
                  <a16:creationId xmlns:a16="http://schemas.microsoft.com/office/drawing/2014/main" id="{16662261-EE80-45CC-BB59-D86A3C1A7ABE}"/>
                </a:ext>
              </a:extLst>
            </p:cNvPr>
            <p:cNvSpPr>
              <a:spLocks noChangeArrowheads="1"/>
            </p:cNvSpPr>
            <p:nvPr/>
          </p:nvSpPr>
          <p:spPr bwMode="auto">
            <a:xfrm>
              <a:off x="6912106" y="4744396"/>
              <a:ext cx="2898719" cy="1355105"/>
            </a:xfrm>
            <a:prstGeom prst="rect">
              <a:avLst/>
            </a:prstGeom>
            <a:solidFill>
              <a:srgbClr val="339966">
                <a:alpha val="50196"/>
              </a:srgbClr>
            </a:solidFill>
            <a:ln w="9525" algn="ctr">
              <a:noFill/>
              <a:miter lim="800000"/>
              <a:headEnd/>
              <a:tailEnd/>
            </a:ln>
            <a:effectLst/>
          </p:spPr>
          <p:txBody>
            <a:bodyPr wrap="square" lIns="47993" tIns="36000" rIns="36000" bIns="36000" anchor="t" anchorCtr="0">
              <a:noAutofit/>
            </a:bodyPr>
            <a:lstStyle>
              <a:lvl1pPr marL="174625" indent="-174625" defTabSz="981075">
                <a:defRPr sz="2400">
                  <a:solidFill>
                    <a:schemeClr val="tx1"/>
                  </a:solidFill>
                  <a:latin typeface="Times New Roman" panose="02020603050405020304" pitchFamily="18" charset="0"/>
                </a:defRPr>
              </a:lvl1pPr>
              <a:lvl2pPr marL="473075" indent="-119063" defTabSz="981075">
                <a:defRPr sz="2400">
                  <a:solidFill>
                    <a:schemeClr val="tx1"/>
                  </a:solidFill>
                  <a:latin typeface="Times New Roman" panose="02020603050405020304" pitchFamily="18" charset="0"/>
                </a:defRPr>
              </a:lvl2pPr>
              <a:lvl3pPr marL="1052513" indent="-287338" defTabSz="981075">
                <a:defRPr sz="2400">
                  <a:solidFill>
                    <a:schemeClr val="tx1"/>
                  </a:solidFill>
                  <a:latin typeface="Times New Roman" panose="02020603050405020304" pitchFamily="18" charset="0"/>
                </a:defRPr>
              </a:lvl3pPr>
              <a:lvl4pPr marL="1639888" indent="-206375" defTabSz="981075">
                <a:defRPr sz="2400">
                  <a:solidFill>
                    <a:schemeClr val="tx1"/>
                  </a:solidFill>
                  <a:latin typeface="Times New Roman" panose="02020603050405020304" pitchFamily="18" charset="0"/>
                </a:defRPr>
              </a:lvl4pPr>
              <a:lvl5pPr marL="2114550" indent="-338138" defTabSz="981075">
                <a:defRPr sz="2400">
                  <a:solidFill>
                    <a:schemeClr val="tx1"/>
                  </a:solidFill>
                  <a:latin typeface="Times New Roman" panose="02020603050405020304" pitchFamily="18" charset="0"/>
                </a:defRPr>
              </a:lvl5pPr>
              <a:lvl6pPr marL="2571750" indent="-338138" defTabSz="981075" eaLnBrk="0" fontAlgn="base" hangingPunct="0">
                <a:spcBef>
                  <a:spcPct val="0"/>
                </a:spcBef>
                <a:spcAft>
                  <a:spcPct val="0"/>
                </a:spcAft>
                <a:defRPr sz="2400">
                  <a:solidFill>
                    <a:schemeClr val="tx1"/>
                  </a:solidFill>
                  <a:latin typeface="Times New Roman" panose="02020603050405020304" pitchFamily="18" charset="0"/>
                </a:defRPr>
              </a:lvl6pPr>
              <a:lvl7pPr marL="3028950" indent="-338138" defTabSz="981075" eaLnBrk="0" fontAlgn="base" hangingPunct="0">
                <a:spcBef>
                  <a:spcPct val="0"/>
                </a:spcBef>
                <a:spcAft>
                  <a:spcPct val="0"/>
                </a:spcAft>
                <a:defRPr sz="2400">
                  <a:solidFill>
                    <a:schemeClr val="tx1"/>
                  </a:solidFill>
                  <a:latin typeface="Times New Roman" panose="02020603050405020304" pitchFamily="18" charset="0"/>
                </a:defRPr>
              </a:lvl7pPr>
              <a:lvl8pPr marL="3486150" indent="-338138" defTabSz="981075" eaLnBrk="0" fontAlgn="base" hangingPunct="0">
                <a:spcBef>
                  <a:spcPct val="0"/>
                </a:spcBef>
                <a:spcAft>
                  <a:spcPct val="0"/>
                </a:spcAft>
                <a:defRPr sz="2400">
                  <a:solidFill>
                    <a:schemeClr val="tx1"/>
                  </a:solidFill>
                  <a:latin typeface="Times New Roman" panose="02020603050405020304" pitchFamily="18" charset="0"/>
                </a:defRPr>
              </a:lvl8pPr>
              <a:lvl9pPr marL="3943350" indent="-338138" defTabSz="981075" eaLnBrk="0" fontAlgn="base" hangingPunct="0">
                <a:spcBef>
                  <a:spcPct val="0"/>
                </a:spcBef>
                <a:spcAft>
                  <a:spcPct val="0"/>
                </a:spcAft>
                <a:defRPr sz="2400">
                  <a:solidFill>
                    <a:schemeClr val="tx1"/>
                  </a:solidFill>
                  <a:latin typeface="Times New Roman" panose="02020603050405020304" pitchFamily="18" charset="0"/>
                </a:defRPr>
              </a:lvl9pPr>
            </a:lstStyle>
            <a:p>
              <a:pPr marL="190481" marR="0" lvl="0" indent="-190481" algn="l" defTabSz="653985" rtl="0" eaLnBrk="0" fontAlgn="base" latinLnBrk="0" hangingPunct="0">
                <a:lnSpc>
                  <a:spcPct val="100000"/>
                </a:lnSpc>
                <a:spcBef>
                  <a:spcPts val="200"/>
                </a:spcBef>
                <a:spcAft>
                  <a:spcPct val="0"/>
                </a:spcAft>
                <a:buClr>
                  <a:srgbClr val="002060"/>
                </a:buClr>
                <a:buSzTx/>
                <a:buFont typeface="Arial" panose="020B0604020202020204" pitchFamily="34" charset="0"/>
                <a:buChar char="▪"/>
                <a:tabLst/>
                <a:defRPr/>
              </a:pPr>
              <a:r>
                <a:rPr kumimoji="0" lang="en-US" altLang="en-US" sz="1000" b="1"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There is only one D for each decision</a:t>
              </a:r>
            </a:p>
            <a:p>
              <a:pPr marL="190481" marR="0" lvl="0" indent="-190481" algn="l" defTabSz="653985" rtl="0" eaLnBrk="0" fontAlgn="base" latinLnBrk="0" hangingPunct="0">
                <a:lnSpc>
                  <a:spcPct val="100000"/>
                </a:lnSpc>
                <a:spcBef>
                  <a:spcPts val="200"/>
                </a:spcBef>
                <a:spcAft>
                  <a:spcPct val="0"/>
                </a:spcAft>
                <a:buClr>
                  <a:srgbClr val="002060"/>
                </a:buClr>
                <a:buSzTx/>
                <a:buFont typeface="Arial" panose="020B0604020202020204" pitchFamily="34" charset="0"/>
                <a:buChar char="▪"/>
                <a:tabLst/>
                <a:defRPr/>
              </a:pPr>
              <a:r>
                <a:rPr kumimoji="0" lang="en-GB" altLang="en-US"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This should be the person best placed to make that decision – balancing expertise &amp; experience with the ‘value at stake’ for the organisation</a:t>
              </a:r>
            </a:p>
            <a:p>
              <a:pPr marL="190481" marR="0" lvl="0" indent="-190481" algn="l" defTabSz="653985" rtl="0" eaLnBrk="0" fontAlgn="base" latinLnBrk="0" hangingPunct="0">
                <a:lnSpc>
                  <a:spcPct val="100000"/>
                </a:lnSpc>
                <a:spcBef>
                  <a:spcPts val="200"/>
                </a:spcBef>
                <a:spcAft>
                  <a:spcPct val="0"/>
                </a:spcAft>
                <a:buClr>
                  <a:srgbClr val="002060"/>
                </a:buClr>
                <a:buSzTx/>
                <a:buFont typeface="Arial" panose="020B0604020202020204" pitchFamily="34" charset="0"/>
                <a:buChar char="▪"/>
                <a:tabLst/>
                <a:defRPr/>
              </a:pPr>
              <a:r>
                <a:rPr kumimoji="0" lang="en-US" altLang="en-US"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If D belongs to a group, specify </a:t>
              </a:r>
              <a:r>
                <a:rPr kumimoji="0" lang="en-GB" altLang="en-US"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how it gets exercised (e.g., majority vote or unanimous vote)</a:t>
              </a:r>
            </a:p>
          </p:txBody>
        </p:sp>
        <p:sp>
          <p:nvSpPr>
            <p:cNvPr id="41" name="AutoShape 11">
              <a:extLst>
                <a:ext uri="{FF2B5EF4-FFF2-40B4-BE49-F238E27FC236}">
                  <a16:creationId xmlns:a16="http://schemas.microsoft.com/office/drawing/2014/main" id="{E5665BDF-36CF-4C01-97F7-20124D8098E2}"/>
                </a:ext>
              </a:extLst>
            </p:cNvPr>
            <p:cNvSpPr>
              <a:spLocks noChangeArrowheads="1"/>
            </p:cNvSpPr>
            <p:nvPr/>
          </p:nvSpPr>
          <p:spPr bwMode="auto">
            <a:xfrm>
              <a:off x="838200" y="4744396"/>
              <a:ext cx="2898719" cy="1355105"/>
            </a:xfrm>
            <a:prstGeom prst="rect">
              <a:avLst/>
            </a:prstGeom>
            <a:solidFill>
              <a:srgbClr val="99CCFF">
                <a:alpha val="50196"/>
              </a:srgbClr>
            </a:solidFill>
            <a:ln w="9525" algn="ctr">
              <a:noFill/>
              <a:miter lim="800000"/>
              <a:headEnd/>
              <a:tailEnd/>
            </a:ln>
            <a:effectLst/>
          </p:spPr>
          <p:txBody>
            <a:bodyPr wrap="square" lIns="47993" tIns="36000" rIns="36000" bIns="36000" anchor="t" anchorCtr="0">
              <a:noAutofit/>
            </a:bodyPr>
            <a:lstStyle/>
            <a:p>
              <a:pPr marL="190481" marR="0" lvl="0" indent="-190481" algn="l" defTabSz="653985" rtl="0" eaLnBrk="0" fontAlgn="base" latinLnBrk="0" hangingPunct="0">
                <a:lnSpc>
                  <a:spcPct val="100000"/>
                </a:lnSpc>
                <a:spcBef>
                  <a:spcPts val="200"/>
                </a:spcBef>
                <a:spcAft>
                  <a:spcPct val="0"/>
                </a:spcAft>
                <a:buClr>
                  <a:srgbClr val="002060"/>
                </a:buClr>
                <a:buSzTx/>
                <a:buFont typeface="Arial" panose="020B0604020202020204" pitchFamily="34" charset="0"/>
                <a:buChar char="▪"/>
                <a:tabLst/>
                <a:defRPr/>
              </a:pPr>
              <a:r>
                <a:rPr kumimoji="0" lang="en-US" altLang="en-US" sz="1000" b="1"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Can be multiple Is for a decision</a:t>
              </a:r>
            </a:p>
            <a:p>
              <a:pPr marL="190481" marR="0" lvl="0" indent="-190481" algn="l" defTabSz="653985" rtl="0" eaLnBrk="0" fontAlgn="base" latinLnBrk="0" hangingPunct="0">
                <a:lnSpc>
                  <a:spcPct val="100000"/>
                </a:lnSpc>
                <a:spcBef>
                  <a:spcPts val="200"/>
                </a:spcBef>
                <a:spcAft>
                  <a:spcPct val="0"/>
                </a:spcAft>
                <a:buClr>
                  <a:srgbClr val="002060"/>
                </a:buClr>
                <a:buSzTx/>
                <a:buFont typeface="Arial" panose="020B0604020202020204" pitchFamily="34" charset="0"/>
                <a:buChar char="▪"/>
                <a:tabLst/>
                <a:defRPr/>
              </a:pPr>
              <a:r>
                <a:rPr kumimoji="0" lang="en-US" altLang="en-US"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Assigned </a:t>
              </a:r>
              <a:r>
                <a:rPr kumimoji="0" lang="en-US" altLang="en-US" sz="1000" b="0" i="0" u="sng"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only</a:t>
              </a:r>
              <a:r>
                <a:rPr kumimoji="0" lang="en-US" altLang="en-US"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to those with valuable, relevant information which could potentially change the decision</a:t>
              </a:r>
            </a:p>
            <a:p>
              <a:pPr marL="190481" marR="0" lvl="0" indent="-190481" algn="l" defTabSz="653985" rtl="0" eaLnBrk="0" fontAlgn="base" latinLnBrk="0" hangingPunct="0">
                <a:lnSpc>
                  <a:spcPct val="100000"/>
                </a:lnSpc>
                <a:spcBef>
                  <a:spcPts val="200"/>
                </a:spcBef>
                <a:spcAft>
                  <a:spcPct val="0"/>
                </a:spcAft>
                <a:buClr>
                  <a:srgbClr val="002060"/>
                </a:buClr>
                <a:buSzTx/>
                <a:buFont typeface="Arial" panose="020B0604020202020204" pitchFamily="34" charset="0"/>
                <a:buChar char="▪"/>
                <a:tabLst/>
                <a:defRPr/>
              </a:pPr>
              <a:r>
                <a:rPr kumimoji="0" lang="en-US" altLang="en-US"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Avoid I proliferation!</a:t>
              </a:r>
            </a:p>
          </p:txBody>
        </p:sp>
        <p:sp>
          <p:nvSpPr>
            <p:cNvPr id="42" name="AutoShape 12">
              <a:extLst>
                <a:ext uri="{FF2B5EF4-FFF2-40B4-BE49-F238E27FC236}">
                  <a16:creationId xmlns:a16="http://schemas.microsoft.com/office/drawing/2014/main" id="{9D31B2A1-6CB9-4070-B52C-80AF3D708E0A}"/>
                </a:ext>
              </a:extLst>
            </p:cNvPr>
            <p:cNvSpPr>
              <a:spLocks noChangeArrowheads="1"/>
            </p:cNvSpPr>
            <p:nvPr/>
          </p:nvSpPr>
          <p:spPr bwMode="auto">
            <a:xfrm>
              <a:off x="9949059" y="4744396"/>
              <a:ext cx="1767248" cy="1355105"/>
            </a:xfrm>
            <a:prstGeom prst="rect">
              <a:avLst/>
            </a:prstGeom>
            <a:solidFill>
              <a:srgbClr val="FFE433">
                <a:alpha val="50196"/>
              </a:srgbClr>
            </a:solidFill>
            <a:ln w="9525" algn="ctr">
              <a:noFill/>
              <a:miter lim="800000"/>
              <a:headEnd/>
              <a:tailEnd/>
            </a:ln>
            <a:effectLst/>
          </p:spPr>
          <p:txBody>
            <a:bodyPr wrap="square" lIns="47993" tIns="36000" rIns="36000" bIns="36000" anchor="t" anchorCtr="0">
              <a:noAutofit/>
            </a:bodyPr>
            <a:lstStyle/>
            <a:p>
              <a:pPr marL="190481" marR="0" lvl="0" indent="-190481" algn="l" defTabSz="653985" rtl="0" eaLnBrk="0" fontAlgn="base" latinLnBrk="0" hangingPunct="0">
                <a:lnSpc>
                  <a:spcPct val="100000"/>
                </a:lnSpc>
                <a:spcBef>
                  <a:spcPts val="200"/>
                </a:spcBef>
                <a:spcAft>
                  <a:spcPct val="0"/>
                </a:spcAft>
                <a:buClr>
                  <a:srgbClr val="002060"/>
                </a:buClr>
                <a:buSzTx/>
                <a:buFont typeface="Arial" panose="020B0604020202020204" pitchFamily="34" charset="0"/>
                <a:buChar char="▪"/>
                <a:tabLst/>
                <a:defRPr/>
              </a:pPr>
              <a:r>
                <a:rPr kumimoji="0" lang="en-US" altLang="en-US" sz="1000" b="1"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May be multiple Ps</a:t>
              </a:r>
            </a:p>
            <a:p>
              <a:pPr marL="190481" marR="0" lvl="0" indent="-190481" algn="l" defTabSz="653985" rtl="0" eaLnBrk="0" fontAlgn="base" latinLnBrk="0" hangingPunct="0">
                <a:lnSpc>
                  <a:spcPct val="100000"/>
                </a:lnSpc>
                <a:spcBef>
                  <a:spcPts val="200"/>
                </a:spcBef>
                <a:spcAft>
                  <a:spcPct val="0"/>
                </a:spcAft>
                <a:buClr>
                  <a:srgbClr val="002060"/>
                </a:buClr>
                <a:buSzTx/>
                <a:buFont typeface="Arial" panose="020B0604020202020204" pitchFamily="34" charset="0"/>
                <a:buChar char="▪"/>
                <a:tabLst/>
                <a:defRPr/>
              </a:pPr>
              <a:r>
                <a:rPr kumimoji="0" lang="en-US" altLang="en-US"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P may also be an Input  - e.g., to ensure implementation is properly </a:t>
              </a:r>
              <a:r>
                <a:rPr lang="en-US" altLang="en-US" sz="1000" dirty="0">
                  <a:solidFill>
                    <a:prstClr val="black"/>
                  </a:solidFill>
                  <a:latin typeface="Tahoma" panose="020B0604030504040204" pitchFamily="34" charset="0"/>
                  <a:ea typeface="Tahoma" panose="020B0604030504040204" pitchFamily="34" charset="0"/>
                  <a:cs typeface="Tahoma" panose="020B0604030504040204" pitchFamily="34" charset="0"/>
                </a:rPr>
                <a:t>considered in the decision process</a:t>
              </a:r>
              <a:endParaRPr kumimoji="0" lang="en-US" altLang="en-US"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3" name="AutoShape 10">
              <a:extLst>
                <a:ext uri="{FF2B5EF4-FFF2-40B4-BE49-F238E27FC236}">
                  <a16:creationId xmlns:a16="http://schemas.microsoft.com/office/drawing/2014/main" id="{4108C85D-0617-4861-80C0-8181A3E3A1BF}"/>
                </a:ext>
              </a:extLst>
            </p:cNvPr>
            <p:cNvSpPr>
              <a:spLocks noChangeArrowheads="1"/>
            </p:cNvSpPr>
            <p:nvPr/>
          </p:nvSpPr>
          <p:spPr bwMode="auto">
            <a:xfrm>
              <a:off x="3875153" y="4744396"/>
              <a:ext cx="2898719" cy="1355105"/>
            </a:xfrm>
            <a:prstGeom prst="rect">
              <a:avLst/>
            </a:prstGeom>
            <a:solidFill>
              <a:srgbClr val="0066CC">
                <a:alpha val="50196"/>
              </a:srgbClr>
            </a:solidFill>
            <a:ln w="9525" algn="ctr">
              <a:noFill/>
              <a:miter lim="800000"/>
              <a:headEnd/>
              <a:tailEnd/>
            </a:ln>
            <a:effectLst/>
          </p:spPr>
          <p:txBody>
            <a:bodyPr wrap="square" lIns="47993" tIns="36000" rIns="36000" bIns="36000" anchor="t" anchorCtr="0">
              <a:noAutofit/>
            </a:bodyPr>
            <a:lstStyle/>
            <a:p>
              <a:pPr marL="190481" marR="0" lvl="0" indent="-190481" algn="l" defTabSz="653985" rtl="0" eaLnBrk="0" fontAlgn="base" latinLnBrk="0" hangingPunct="0">
                <a:lnSpc>
                  <a:spcPct val="100000"/>
                </a:lnSpc>
                <a:spcBef>
                  <a:spcPts val="200"/>
                </a:spcBef>
                <a:spcAft>
                  <a:spcPct val="0"/>
                </a:spcAft>
                <a:buClr>
                  <a:srgbClr val="002060"/>
                </a:buClr>
                <a:buSzTx/>
                <a:buFont typeface="Arial" panose="020B0604020202020204" pitchFamily="34" charset="0"/>
                <a:buChar char="▪"/>
                <a:tabLst/>
                <a:defRPr/>
              </a:pPr>
              <a:r>
                <a:rPr kumimoji="0" lang="en-US" altLang="en-US" sz="1000" b="1"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As are used sparingly</a:t>
              </a:r>
            </a:p>
            <a:p>
              <a:pPr marL="190481" marR="0" lvl="0" indent="-190481" algn="l" defTabSz="653985" rtl="0" eaLnBrk="0" fontAlgn="base" latinLnBrk="0" hangingPunct="0">
                <a:lnSpc>
                  <a:spcPct val="100000"/>
                </a:lnSpc>
                <a:spcBef>
                  <a:spcPts val="200"/>
                </a:spcBef>
                <a:spcAft>
                  <a:spcPct val="0"/>
                </a:spcAft>
                <a:buClr>
                  <a:srgbClr val="002060"/>
                </a:buClr>
                <a:buSzTx/>
                <a:buFont typeface="Arial" panose="020B0604020202020204" pitchFamily="34" charset="0"/>
                <a:buChar char="▪"/>
                <a:tabLst/>
                <a:defRPr/>
              </a:pPr>
              <a:r>
                <a:rPr kumimoji="0" lang="en-US" altLang="en-US"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Usually regulatory or legal issues</a:t>
              </a:r>
            </a:p>
            <a:p>
              <a:pPr marL="190481" marR="0" lvl="0" indent="-190481" algn="l" defTabSz="653985" rtl="0" eaLnBrk="0" fontAlgn="base" latinLnBrk="0" hangingPunct="0">
                <a:lnSpc>
                  <a:spcPct val="100000"/>
                </a:lnSpc>
                <a:spcBef>
                  <a:spcPts val="200"/>
                </a:spcBef>
                <a:spcAft>
                  <a:spcPct val="0"/>
                </a:spcAft>
                <a:buClr>
                  <a:srgbClr val="002060"/>
                </a:buClr>
                <a:buSzTx/>
                <a:buFont typeface="Arial" panose="020B0604020202020204" pitchFamily="34" charset="0"/>
                <a:buChar char="▪"/>
                <a:tabLst/>
                <a:defRPr/>
              </a:pPr>
              <a:r>
                <a:rPr kumimoji="0" lang="en-US" altLang="en-US" sz="1000" b="1"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A is on the R</a:t>
              </a:r>
              <a:r>
                <a:rPr kumimoji="0" lang="en-US" altLang="en-US"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 the D can still over-rule (and be held accountable)</a:t>
              </a:r>
            </a:p>
          </p:txBody>
        </p:sp>
        <p:cxnSp>
          <p:nvCxnSpPr>
            <p:cNvPr id="38" name="Straight Connector 37">
              <a:extLst>
                <a:ext uri="{FF2B5EF4-FFF2-40B4-BE49-F238E27FC236}">
                  <a16:creationId xmlns:a16="http://schemas.microsoft.com/office/drawing/2014/main" id="{FAEB77B4-1CBC-4A7C-8059-BB6352B48E12}"/>
                </a:ext>
              </a:extLst>
            </p:cNvPr>
            <p:cNvCxnSpPr>
              <a:cxnSpLocks/>
            </p:cNvCxnSpPr>
            <p:nvPr/>
          </p:nvCxnSpPr>
          <p:spPr>
            <a:xfrm flipV="1">
              <a:off x="7562433" y="3498850"/>
              <a:ext cx="0" cy="1245546"/>
            </a:xfrm>
            <a:prstGeom prst="line">
              <a:avLst/>
            </a:prstGeom>
            <a:ln w="12700">
              <a:solidFill>
                <a:srgbClr val="339966"/>
              </a:solidFill>
              <a:tailEnd type="ova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3546A2E4-1AB4-4206-8FC4-518BE33F603F}"/>
                </a:ext>
              </a:extLst>
            </p:cNvPr>
            <p:cNvCxnSpPr>
              <a:cxnSpLocks/>
            </p:cNvCxnSpPr>
            <p:nvPr/>
          </p:nvCxnSpPr>
          <p:spPr>
            <a:xfrm flipV="1">
              <a:off x="5324512" y="4500563"/>
              <a:ext cx="0" cy="243833"/>
            </a:xfrm>
            <a:prstGeom prst="line">
              <a:avLst/>
            </a:prstGeom>
            <a:ln w="12700">
              <a:solidFill>
                <a:srgbClr val="0066CC"/>
              </a:solidFill>
              <a:tailEnd type="ova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A9F2BCCA-1F1A-41EF-949A-E330864FA823}"/>
                </a:ext>
              </a:extLst>
            </p:cNvPr>
            <p:cNvCxnSpPr>
              <a:cxnSpLocks/>
            </p:cNvCxnSpPr>
            <p:nvPr/>
          </p:nvCxnSpPr>
          <p:spPr>
            <a:xfrm flipV="1">
              <a:off x="2081956" y="4500563"/>
              <a:ext cx="0" cy="243833"/>
            </a:xfrm>
            <a:prstGeom prst="line">
              <a:avLst/>
            </a:prstGeom>
            <a:ln w="12700">
              <a:solidFill>
                <a:srgbClr val="99CCFF"/>
              </a:solidFill>
              <a:tailEnd type="oval"/>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20E64C98-919B-4E1B-AB2B-E64702ED68EC}"/>
                </a:ext>
              </a:extLst>
            </p:cNvPr>
            <p:cNvSpPr/>
            <p:nvPr/>
          </p:nvSpPr>
          <p:spPr>
            <a:xfrm>
              <a:off x="9734550" y="1449135"/>
              <a:ext cx="1981757" cy="944737"/>
            </a:xfrm>
            <a:prstGeom prst="rect">
              <a:avLst/>
            </a:prstGeom>
            <a:solidFill>
              <a:schemeClr val="bg1">
                <a:lumMod val="95000"/>
              </a:schemeClr>
            </a:solidFill>
            <a:ln w="12700">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marL="0" marR="0" lvl="0" indent="0" algn="ctr" defTabSz="609539" rtl="0" eaLnBrk="0" fontAlgn="base" latinLnBrk="0" hangingPunct="0">
                <a:lnSpc>
                  <a:spcPct val="100000"/>
                </a:lnSpc>
                <a:spcBef>
                  <a:spcPct val="0"/>
                </a:spcBef>
                <a:spcAft>
                  <a:spcPct val="0"/>
                </a:spcAft>
                <a:buClrTx/>
                <a:buSzTx/>
                <a:buFontTx/>
                <a:buNone/>
                <a:tabLst/>
                <a:defRPr/>
              </a:pPr>
              <a:r>
                <a:rPr kumimoji="0" lang="en-US" sz="1050" i="1" u="none" strike="noStrike" kern="1200" cap="none" spc="0" normalizeH="0" baseline="0" noProof="0" dirty="0">
                  <a:ln>
                    <a:noFill/>
                  </a:ln>
                  <a:solidFill>
                    <a:schemeClr val="bg2">
                      <a:lumMod val="25000"/>
                    </a:schemeClr>
                  </a:solidFill>
                  <a:effectLst/>
                  <a:uLnTx/>
                  <a:uFillTx/>
                  <a:latin typeface="Tahoma" panose="020B0604030504040204" pitchFamily="34" charset="0"/>
                  <a:ea typeface="Tahoma" panose="020B0604030504040204" pitchFamily="34" charset="0"/>
                  <a:cs typeface="Tahoma" panose="020B0604030504040204" pitchFamily="34" charset="0"/>
                </a:rPr>
                <a:t>RAPIDs should reflect what will work in 90% of situations – design for the rule, not the exception</a:t>
              </a:r>
            </a:p>
          </p:txBody>
        </p:sp>
        <p:sp>
          <p:nvSpPr>
            <p:cNvPr id="40" name="AutoShape 9">
              <a:extLst>
                <a:ext uri="{FF2B5EF4-FFF2-40B4-BE49-F238E27FC236}">
                  <a16:creationId xmlns:a16="http://schemas.microsoft.com/office/drawing/2014/main" id="{49562C56-571B-49AF-B34A-57B4E32382EC}"/>
                </a:ext>
              </a:extLst>
            </p:cNvPr>
            <p:cNvSpPr>
              <a:spLocks noChangeArrowheads="1"/>
            </p:cNvSpPr>
            <p:nvPr/>
          </p:nvSpPr>
          <p:spPr bwMode="auto">
            <a:xfrm>
              <a:off x="838200" y="1449135"/>
              <a:ext cx="3854331" cy="944737"/>
            </a:xfrm>
            <a:prstGeom prst="rect">
              <a:avLst/>
            </a:prstGeom>
            <a:solidFill>
              <a:srgbClr val="CC6666">
                <a:alpha val="50196"/>
              </a:srgbClr>
            </a:solidFill>
            <a:ln w="9525" algn="ctr">
              <a:noFill/>
              <a:miter lim="800000"/>
              <a:headEnd/>
              <a:tailEnd/>
            </a:ln>
            <a:effectLst/>
          </p:spPr>
          <p:txBody>
            <a:bodyPr wrap="square" lIns="47993" tIns="36000" rIns="36000" bIns="36000" anchor="ctr">
              <a:noAutofit/>
            </a:bodyPr>
            <a:lstStyle/>
            <a:p>
              <a:pPr marL="190481" marR="0" lvl="0" indent="-190481" algn="l" defTabSz="653985" rtl="0" eaLnBrk="0" fontAlgn="base" latinLnBrk="0" hangingPunct="0">
                <a:lnSpc>
                  <a:spcPct val="100000"/>
                </a:lnSpc>
                <a:spcBef>
                  <a:spcPts val="200"/>
                </a:spcBef>
                <a:spcAft>
                  <a:spcPct val="0"/>
                </a:spcAft>
                <a:buClr>
                  <a:srgbClr val="002060"/>
                </a:buClr>
                <a:buSzTx/>
                <a:buFont typeface="Arial" panose="020B0604020202020204" pitchFamily="34" charset="0"/>
                <a:buChar char="▪"/>
                <a:tabLst/>
                <a:defRPr/>
              </a:pPr>
              <a:r>
                <a:rPr kumimoji="0" lang="en-US" altLang="en-US" sz="1000" b="1"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There is only one R for each decision</a:t>
              </a:r>
            </a:p>
            <a:p>
              <a:pPr marL="190481" marR="0" lvl="0" indent="-190481" algn="l" defTabSz="653985" rtl="0" eaLnBrk="0" fontAlgn="base" latinLnBrk="0" hangingPunct="0">
                <a:lnSpc>
                  <a:spcPct val="100000"/>
                </a:lnSpc>
                <a:spcBef>
                  <a:spcPts val="200"/>
                </a:spcBef>
                <a:spcAft>
                  <a:spcPct val="0"/>
                </a:spcAft>
                <a:buClr>
                  <a:srgbClr val="002060"/>
                </a:buClr>
                <a:buSzTx/>
                <a:buFont typeface="Arial" panose="020B0604020202020204" pitchFamily="34" charset="0"/>
                <a:buChar char="▪"/>
                <a:tabLst/>
                <a:defRPr/>
              </a:pPr>
              <a:r>
                <a:rPr kumimoji="0" lang="en-US" altLang="en-US"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Does 80% of the work to develop the recommendation</a:t>
              </a:r>
            </a:p>
            <a:p>
              <a:pPr marL="190481" marR="0" lvl="0" indent="-190481" algn="l" defTabSz="653985" rtl="0" eaLnBrk="0" fontAlgn="base" latinLnBrk="0" hangingPunct="0">
                <a:lnSpc>
                  <a:spcPct val="100000"/>
                </a:lnSpc>
                <a:spcBef>
                  <a:spcPts val="200"/>
                </a:spcBef>
                <a:spcAft>
                  <a:spcPct val="0"/>
                </a:spcAft>
                <a:buClr>
                  <a:srgbClr val="002060"/>
                </a:buClr>
                <a:buSzTx/>
                <a:buFont typeface="Arial" panose="020B0604020202020204" pitchFamily="34" charset="0"/>
                <a:buChar char="▪"/>
                <a:tabLst/>
                <a:defRPr/>
              </a:pPr>
              <a:r>
                <a:rPr kumimoji="0" lang="en-US" altLang="en-US"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Broad visibility and access to data &amp; relevant Inputs</a:t>
              </a:r>
            </a:p>
            <a:p>
              <a:pPr marL="190481" marR="0" lvl="0" indent="-190481" algn="l" defTabSz="653985" rtl="0" eaLnBrk="0" fontAlgn="base" latinLnBrk="0" hangingPunct="0">
                <a:lnSpc>
                  <a:spcPct val="100000"/>
                </a:lnSpc>
                <a:spcBef>
                  <a:spcPts val="200"/>
                </a:spcBef>
                <a:spcAft>
                  <a:spcPct val="0"/>
                </a:spcAft>
                <a:buClr>
                  <a:srgbClr val="002060"/>
                </a:buClr>
                <a:buSzTx/>
                <a:buFont typeface="Arial" panose="020B0604020202020204" pitchFamily="34" charset="0"/>
                <a:buChar char="▪"/>
                <a:tabLst/>
                <a:defRPr/>
              </a:pPr>
              <a:r>
                <a:rPr kumimoji="0" lang="en-US" altLang="en-US"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Must have trust from both Is and the D</a:t>
              </a:r>
            </a:p>
            <a:p>
              <a:pPr marL="190481" marR="0" lvl="0" indent="-190481" algn="l" defTabSz="653985" rtl="0" eaLnBrk="0" fontAlgn="base" latinLnBrk="0" hangingPunct="0">
                <a:lnSpc>
                  <a:spcPct val="100000"/>
                </a:lnSpc>
                <a:spcBef>
                  <a:spcPts val="200"/>
                </a:spcBef>
                <a:spcAft>
                  <a:spcPct val="0"/>
                </a:spcAft>
                <a:buClr>
                  <a:srgbClr val="002060"/>
                </a:buClr>
                <a:buSzTx/>
                <a:buFont typeface="Arial" panose="020B0604020202020204" pitchFamily="34" charset="0"/>
                <a:buChar char="▪"/>
                <a:tabLst/>
                <a:defRPr/>
              </a:pPr>
              <a:r>
                <a:rPr kumimoji="0" lang="en-US" altLang="en-US"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R and D can be the same person</a:t>
              </a:r>
            </a:p>
          </p:txBody>
        </p:sp>
      </p:grpSp>
      <p:sp>
        <p:nvSpPr>
          <p:cNvPr id="5" name="Rectangle 4">
            <a:extLst>
              <a:ext uri="{FF2B5EF4-FFF2-40B4-BE49-F238E27FC236}">
                <a16:creationId xmlns:a16="http://schemas.microsoft.com/office/drawing/2014/main" id="{4FA763EB-0C3F-CF62-14AB-F6AD59698285}"/>
              </a:ext>
            </a:extLst>
          </p:cNvPr>
          <p:cNvSpPr/>
          <p:nvPr/>
        </p:nvSpPr>
        <p:spPr>
          <a:xfrm>
            <a:off x="0" y="6420914"/>
            <a:ext cx="6331978" cy="387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pPr marL="109220">
              <a:spcBef>
                <a:spcPts val="600"/>
              </a:spcBef>
            </a:pPr>
            <a:r>
              <a:rPr lang="en-US" sz="1400" i="1" dirty="0">
                <a:solidFill>
                  <a:schemeClr val="bg2">
                    <a:lumMod val="10000"/>
                  </a:schemeClr>
                </a:solidFill>
                <a:latin typeface="Tahoma"/>
                <a:ea typeface="Tahoma"/>
                <a:cs typeface="Tahoma"/>
              </a:rPr>
              <a:t>Note: RAPID is a methodology developed by Bain &amp; Company</a:t>
            </a:r>
          </a:p>
        </p:txBody>
      </p:sp>
      <p:sp>
        <p:nvSpPr>
          <p:cNvPr id="6" name="TextBox 5">
            <a:extLst>
              <a:ext uri="{FF2B5EF4-FFF2-40B4-BE49-F238E27FC236}">
                <a16:creationId xmlns:a16="http://schemas.microsoft.com/office/drawing/2014/main" id="{7A63C897-B76E-9B04-F1B2-7DB76112CA43}"/>
              </a:ext>
            </a:extLst>
          </p:cNvPr>
          <p:cNvSpPr txBox="1"/>
          <p:nvPr/>
        </p:nvSpPr>
        <p:spPr>
          <a:xfrm>
            <a:off x="10505661" y="94030"/>
            <a:ext cx="1528396" cy="664469"/>
          </a:xfrm>
          <a:prstGeom prst="rect">
            <a:avLst/>
          </a:prstGeom>
          <a:solidFill>
            <a:schemeClr val="accent2"/>
          </a:solidFill>
        </p:spPr>
        <p:txBody>
          <a:bodyPr wrap="square" rtlCol="0" anchor="ctr" anchorCtr="0">
            <a:noAutofit/>
          </a:bodyPr>
          <a:lstStyle>
            <a:defPPr>
              <a:defRPr lang="en-US"/>
            </a:defPPr>
            <a:lvl1pPr algn="ctr">
              <a:spcBef>
                <a:spcPts val="1200"/>
              </a:spcBef>
              <a:defRPr sz="1600" b="1">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GB" sz="1100" dirty="0"/>
              <a:t>Option: Alignment with decision processes </a:t>
            </a:r>
          </a:p>
        </p:txBody>
      </p:sp>
    </p:spTree>
    <p:extLst>
      <p:ext uri="{BB962C8B-B14F-4D97-AF65-F5344CB8AC3E}">
        <p14:creationId xmlns:p14="http://schemas.microsoft.com/office/powerpoint/2010/main" val="36024756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2DD887-FF19-4140-9B32-EF43C6A731A6}"/>
              </a:ext>
            </a:extLst>
          </p:cNvPr>
          <p:cNvSpPr>
            <a:spLocks noGrp="1"/>
          </p:cNvSpPr>
          <p:nvPr>
            <p:ph type="title"/>
          </p:nvPr>
        </p:nvSpPr>
        <p:spPr>
          <a:xfrm>
            <a:off x="452439" y="75199"/>
            <a:ext cx="11269661" cy="775597"/>
          </a:xfrm>
        </p:spPr>
        <p:txBody>
          <a:bodyPr vert="horz" lIns="91440" tIns="45720" rIns="91440" bIns="45720" rtlCol="0" anchor="ctr">
            <a:noAutofit/>
          </a:bodyPr>
          <a:lstStyle/>
          <a:p>
            <a:r>
              <a:rPr lang="en-GB" dirty="0">
                <a:latin typeface="Segoe UI"/>
                <a:cs typeface="Segoe UI"/>
              </a:rPr>
              <a:t>Accelerating skill development can enable today’s </a:t>
            </a:r>
            <a:br>
              <a:rPr lang="en-GB" dirty="0">
                <a:latin typeface="Segoe UI"/>
                <a:cs typeface="Segoe UI"/>
              </a:rPr>
            </a:br>
            <a:r>
              <a:rPr lang="en-GB" dirty="0">
                <a:latin typeface="Segoe UI"/>
                <a:cs typeface="Segoe UI"/>
              </a:rPr>
              <a:t>Consultant to contribute £500k+ more profit over 6 years</a:t>
            </a:r>
          </a:p>
        </p:txBody>
      </p:sp>
      <p:cxnSp>
        <p:nvCxnSpPr>
          <p:cNvPr id="5" name="Connector: Elbow 4">
            <a:extLst>
              <a:ext uri="{FF2B5EF4-FFF2-40B4-BE49-F238E27FC236}">
                <a16:creationId xmlns:a16="http://schemas.microsoft.com/office/drawing/2014/main" id="{E83161DC-42FC-45A9-879C-04883982DAA7}"/>
              </a:ext>
            </a:extLst>
          </p:cNvPr>
          <p:cNvCxnSpPr>
            <a:cxnSpLocks/>
            <a:stCxn id="3" idx="3"/>
            <a:endCxn id="12" idx="1"/>
          </p:cNvCxnSpPr>
          <p:nvPr/>
        </p:nvCxnSpPr>
        <p:spPr>
          <a:xfrm flipV="1">
            <a:off x="2316371" y="2890710"/>
            <a:ext cx="1974974" cy="809634"/>
          </a:xfrm>
          <a:prstGeom prst="bentConnector3">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5C1C17B6-FF96-40DB-B34C-D8A539349985}"/>
              </a:ext>
            </a:extLst>
          </p:cNvPr>
          <p:cNvCxnSpPr>
            <a:cxnSpLocks/>
            <a:stCxn id="12" idx="3"/>
            <a:endCxn id="16" idx="1"/>
          </p:cNvCxnSpPr>
          <p:nvPr/>
        </p:nvCxnSpPr>
        <p:spPr>
          <a:xfrm flipV="1">
            <a:off x="6102774" y="2081078"/>
            <a:ext cx="1596850" cy="809632"/>
          </a:xfrm>
          <a:prstGeom prst="bentConnector3">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47308B8C-8A4B-4918-8285-DB2F7C227C9C}"/>
              </a:ext>
            </a:extLst>
          </p:cNvPr>
          <p:cNvSpPr txBox="1"/>
          <p:nvPr/>
        </p:nvSpPr>
        <p:spPr>
          <a:xfrm>
            <a:off x="2921000" y="3082541"/>
            <a:ext cx="743234" cy="492443"/>
          </a:xfrm>
          <a:prstGeom prst="rect">
            <a:avLst/>
          </a:prstGeom>
          <a:solidFill>
            <a:schemeClr val="bg1"/>
          </a:solidFill>
        </p:spPr>
        <p:txBody>
          <a:bodyPr wrap="square" lIns="0" tIns="0" rIns="0" bIns="0" rtlCol="0">
            <a:spAutoFit/>
          </a:bodyPr>
          <a:lstStyle/>
          <a:p>
            <a:pPr algn="ctr"/>
            <a:r>
              <a:rPr lang="en-GB" sz="1600" i="1">
                <a:solidFill>
                  <a:srgbClr val="FF0000"/>
                </a:solidFill>
                <a:latin typeface="Tahoma" panose="020B0604030504040204" pitchFamily="34" charset="0"/>
                <a:ea typeface="Tahoma" panose="020B0604030504040204" pitchFamily="34" charset="0"/>
                <a:cs typeface="Tahoma" panose="020B0604030504040204" pitchFamily="34" charset="0"/>
              </a:rPr>
              <a:t>2 – 3</a:t>
            </a:r>
            <a:br>
              <a:rPr lang="en-GB" sz="1600" i="1">
                <a:solidFill>
                  <a:srgbClr val="FF0000"/>
                </a:solidFill>
                <a:latin typeface="Tahoma" panose="020B0604030504040204" pitchFamily="34" charset="0"/>
                <a:ea typeface="Tahoma" panose="020B0604030504040204" pitchFamily="34" charset="0"/>
                <a:cs typeface="Tahoma" panose="020B0604030504040204" pitchFamily="34" charset="0"/>
              </a:rPr>
            </a:br>
            <a:r>
              <a:rPr lang="en-GB" sz="1600" i="1">
                <a:solidFill>
                  <a:srgbClr val="FF0000"/>
                </a:solidFill>
                <a:latin typeface="Tahoma" panose="020B0604030504040204" pitchFamily="34" charset="0"/>
                <a:ea typeface="Tahoma" panose="020B0604030504040204" pitchFamily="34" charset="0"/>
                <a:cs typeface="Tahoma" panose="020B0604030504040204" pitchFamily="34" charset="0"/>
              </a:rPr>
              <a:t>years</a:t>
            </a:r>
          </a:p>
        </p:txBody>
      </p:sp>
      <p:sp>
        <p:nvSpPr>
          <p:cNvPr id="3" name="Rectangle 2">
            <a:extLst>
              <a:ext uri="{FF2B5EF4-FFF2-40B4-BE49-F238E27FC236}">
                <a16:creationId xmlns:a16="http://schemas.microsoft.com/office/drawing/2014/main" id="{20AFBAED-4885-4D8C-8A4E-6CD8A0FB1F58}"/>
              </a:ext>
            </a:extLst>
          </p:cNvPr>
          <p:cNvSpPr/>
          <p:nvPr/>
        </p:nvSpPr>
        <p:spPr>
          <a:xfrm>
            <a:off x="1219310" y="3407831"/>
            <a:ext cx="1097061" cy="585025"/>
          </a:xfrm>
          <a:prstGeom prst="rect">
            <a:avLst/>
          </a:prstGeom>
          <a:solidFill>
            <a:srgbClr val="00B050"/>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latin typeface="Tahoma" panose="020B0604030504040204" pitchFamily="34" charset="0"/>
                <a:ea typeface="Tahoma" panose="020B0604030504040204" pitchFamily="34" charset="0"/>
                <a:cs typeface="Tahoma" panose="020B0604030504040204" pitchFamily="34" charset="0"/>
              </a:rPr>
              <a:t>C</a:t>
            </a:r>
          </a:p>
        </p:txBody>
      </p:sp>
      <p:sp>
        <p:nvSpPr>
          <p:cNvPr id="32" name="TextBox 31">
            <a:extLst>
              <a:ext uri="{FF2B5EF4-FFF2-40B4-BE49-F238E27FC236}">
                <a16:creationId xmlns:a16="http://schemas.microsoft.com/office/drawing/2014/main" id="{E3F83017-5F38-44EF-BB01-0A018161CA93}"/>
              </a:ext>
            </a:extLst>
          </p:cNvPr>
          <p:cNvSpPr txBox="1"/>
          <p:nvPr/>
        </p:nvSpPr>
        <p:spPr>
          <a:xfrm>
            <a:off x="855089" y="4132981"/>
            <a:ext cx="1968808" cy="584775"/>
          </a:xfrm>
          <a:prstGeom prst="rect">
            <a:avLst/>
          </a:prstGeom>
          <a:noFill/>
        </p:spPr>
        <p:txBody>
          <a:bodyPr wrap="none" rtlCol="0">
            <a:spAutoFit/>
          </a:bodyPr>
          <a:lstStyle/>
          <a:p>
            <a:pPr algn="ctr"/>
            <a:r>
              <a:rPr lang="en-GB" sz="1600" b="1">
                <a:solidFill>
                  <a:srgbClr val="002060"/>
                </a:solidFill>
                <a:latin typeface="Tahoma" panose="020B0604030504040204" pitchFamily="34" charset="0"/>
                <a:ea typeface="Tahoma" panose="020B0604030504040204" pitchFamily="34" charset="0"/>
                <a:cs typeface="Tahoma" panose="020B0604030504040204" pitchFamily="34" charset="0"/>
              </a:rPr>
              <a:t>Typical </a:t>
            </a:r>
            <a:br>
              <a:rPr lang="en-GB" sz="1600" b="1">
                <a:solidFill>
                  <a:srgbClr val="002060"/>
                </a:solidFill>
                <a:latin typeface="Tahoma" panose="020B0604030504040204" pitchFamily="34" charset="0"/>
                <a:ea typeface="Tahoma" panose="020B0604030504040204" pitchFamily="34" charset="0"/>
                <a:cs typeface="Tahoma" panose="020B0604030504040204" pitchFamily="34" charset="0"/>
              </a:rPr>
            </a:br>
            <a:r>
              <a:rPr lang="en-GB" sz="1600" b="1">
                <a:solidFill>
                  <a:srgbClr val="002060"/>
                </a:solidFill>
                <a:latin typeface="Tahoma" panose="020B0604030504040204" pitchFamily="34" charset="0"/>
                <a:ea typeface="Tahoma" panose="020B0604030504040204" pitchFamily="34" charset="0"/>
                <a:cs typeface="Tahoma" panose="020B0604030504040204" pitchFamily="34" charset="0"/>
              </a:rPr>
              <a:t>£80 - 90k margin</a:t>
            </a:r>
          </a:p>
        </p:txBody>
      </p:sp>
      <p:grpSp>
        <p:nvGrpSpPr>
          <p:cNvPr id="23" name="Group 22">
            <a:extLst>
              <a:ext uri="{FF2B5EF4-FFF2-40B4-BE49-F238E27FC236}">
                <a16:creationId xmlns:a16="http://schemas.microsoft.com/office/drawing/2014/main" id="{C15B5315-061F-4415-B66B-304FB870EE81}"/>
              </a:ext>
            </a:extLst>
          </p:cNvPr>
          <p:cNvGrpSpPr/>
          <p:nvPr/>
        </p:nvGrpSpPr>
        <p:grpSpPr>
          <a:xfrm>
            <a:off x="4291345" y="3407831"/>
            <a:ext cx="1811428" cy="585025"/>
            <a:chOff x="3403600" y="4216400"/>
            <a:chExt cx="1920240" cy="568960"/>
          </a:xfrm>
        </p:grpSpPr>
        <p:sp>
          <p:nvSpPr>
            <p:cNvPr id="8" name="Rectangle 7">
              <a:extLst>
                <a:ext uri="{FF2B5EF4-FFF2-40B4-BE49-F238E27FC236}">
                  <a16:creationId xmlns:a16="http://schemas.microsoft.com/office/drawing/2014/main" id="{3B7C0244-BE3B-4341-8C6E-A2F0A6F32817}"/>
                </a:ext>
              </a:extLst>
            </p:cNvPr>
            <p:cNvSpPr/>
            <p:nvPr/>
          </p:nvSpPr>
          <p:spPr>
            <a:xfrm>
              <a:off x="3403600" y="4216400"/>
              <a:ext cx="873760" cy="568960"/>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latin typeface="Tahoma" panose="020B0604030504040204" pitchFamily="34" charset="0"/>
                  <a:ea typeface="Tahoma" panose="020B0604030504040204" pitchFamily="34" charset="0"/>
                  <a:cs typeface="Tahoma" panose="020B0604030504040204" pitchFamily="34" charset="0"/>
                </a:rPr>
                <a:t>C</a:t>
              </a:r>
            </a:p>
          </p:txBody>
        </p:sp>
        <p:sp>
          <p:nvSpPr>
            <p:cNvPr id="11" name="Rectangle 10">
              <a:extLst>
                <a:ext uri="{FF2B5EF4-FFF2-40B4-BE49-F238E27FC236}">
                  <a16:creationId xmlns:a16="http://schemas.microsoft.com/office/drawing/2014/main" id="{45B5866B-CAD2-47E2-853D-2A20308B5591}"/>
                </a:ext>
              </a:extLst>
            </p:cNvPr>
            <p:cNvSpPr/>
            <p:nvPr/>
          </p:nvSpPr>
          <p:spPr>
            <a:xfrm>
              <a:off x="4450080" y="4216400"/>
              <a:ext cx="873760" cy="568960"/>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latin typeface="Tahoma" panose="020B0604030504040204" pitchFamily="34" charset="0"/>
                  <a:ea typeface="Tahoma" panose="020B0604030504040204" pitchFamily="34" charset="0"/>
                  <a:cs typeface="Tahoma" panose="020B0604030504040204" pitchFamily="34" charset="0"/>
                </a:rPr>
                <a:t>C</a:t>
              </a:r>
            </a:p>
          </p:txBody>
        </p:sp>
      </p:grpSp>
      <p:sp>
        <p:nvSpPr>
          <p:cNvPr id="12" name="Rectangle 11">
            <a:extLst>
              <a:ext uri="{FF2B5EF4-FFF2-40B4-BE49-F238E27FC236}">
                <a16:creationId xmlns:a16="http://schemas.microsoft.com/office/drawing/2014/main" id="{5166E1A2-7129-49B3-8C24-1349CE7E923E}"/>
              </a:ext>
            </a:extLst>
          </p:cNvPr>
          <p:cNvSpPr/>
          <p:nvPr/>
        </p:nvSpPr>
        <p:spPr>
          <a:xfrm>
            <a:off x="4291345" y="2598197"/>
            <a:ext cx="1811428" cy="585025"/>
          </a:xfrm>
          <a:prstGeom prst="rect">
            <a:avLst/>
          </a:prstGeom>
          <a:solidFill>
            <a:srgbClr val="00B050"/>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latin typeface="Tahoma" panose="020B0604030504040204" pitchFamily="34" charset="0"/>
                <a:ea typeface="Tahoma" panose="020B0604030504040204" pitchFamily="34" charset="0"/>
                <a:cs typeface="Tahoma" panose="020B0604030504040204" pitchFamily="34" charset="0"/>
              </a:rPr>
              <a:t>Sen C</a:t>
            </a:r>
          </a:p>
        </p:txBody>
      </p:sp>
      <p:sp>
        <p:nvSpPr>
          <p:cNvPr id="33" name="TextBox 32">
            <a:extLst>
              <a:ext uri="{FF2B5EF4-FFF2-40B4-BE49-F238E27FC236}">
                <a16:creationId xmlns:a16="http://schemas.microsoft.com/office/drawing/2014/main" id="{85CBCC04-B9EF-4175-B0B9-8525B24AEDAC}"/>
              </a:ext>
            </a:extLst>
          </p:cNvPr>
          <p:cNvSpPr txBox="1"/>
          <p:nvPr/>
        </p:nvSpPr>
        <p:spPr>
          <a:xfrm>
            <a:off x="4083289" y="4132981"/>
            <a:ext cx="2231701" cy="584775"/>
          </a:xfrm>
          <a:prstGeom prst="rect">
            <a:avLst/>
          </a:prstGeom>
          <a:noFill/>
        </p:spPr>
        <p:txBody>
          <a:bodyPr wrap="none" rtlCol="0">
            <a:spAutoFit/>
          </a:bodyPr>
          <a:lstStyle/>
          <a:p>
            <a:pPr algn="ctr"/>
            <a:r>
              <a:rPr lang="en-GB" sz="1600" b="1">
                <a:solidFill>
                  <a:srgbClr val="002060"/>
                </a:solidFill>
                <a:latin typeface="Tahoma" panose="020B0604030504040204" pitchFamily="34" charset="0"/>
                <a:ea typeface="Tahoma" panose="020B0604030504040204" pitchFamily="34" charset="0"/>
                <a:cs typeface="Tahoma" panose="020B0604030504040204" pitchFamily="34" charset="0"/>
              </a:rPr>
              <a:t>Typical</a:t>
            </a:r>
          </a:p>
          <a:p>
            <a:pPr algn="ctr"/>
            <a:r>
              <a:rPr lang="en-GB" sz="1600" b="1">
                <a:solidFill>
                  <a:srgbClr val="002060"/>
                </a:solidFill>
                <a:latin typeface="Tahoma" panose="020B0604030504040204" pitchFamily="34" charset="0"/>
                <a:ea typeface="Tahoma" panose="020B0604030504040204" pitchFamily="34" charset="0"/>
                <a:cs typeface="Tahoma" panose="020B0604030504040204" pitchFamily="34" charset="0"/>
              </a:rPr>
              <a:t>£270 - 300k margin</a:t>
            </a:r>
          </a:p>
        </p:txBody>
      </p:sp>
      <p:sp>
        <p:nvSpPr>
          <p:cNvPr id="15" name="Rectangle 14">
            <a:extLst>
              <a:ext uri="{FF2B5EF4-FFF2-40B4-BE49-F238E27FC236}">
                <a16:creationId xmlns:a16="http://schemas.microsoft.com/office/drawing/2014/main" id="{E1C4E73E-6CEE-472C-8694-13E64113002C}"/>
              </a:ext>
            </a:extLst>
          </p:cNvPr>
          <p:cNvSpPr/>
          <p:nvPr/>
        </p:nvSpPr>
        <p:spPr>
          <a:xfrm>
            <a:off x="7699623" y="2598197"/>
            <a:ext cx="1811427" cy="585025"/>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latin typeface="Tahoma" panose="020B0604030504040204" pitchFamily="34" charset="0"/>
                <a:ea typeface="Tahoma" panose="020B0604030504040204" pitchFamily="34" charset="0"/>
                <a:cs typeface="Tahoma" panose="020B0604030504040204" pitchFamily="34" charset="0"/>
              </a:rPr>
              <a:t>Sen C</a:t>
            </a:r>
          </a:p>
        </p:txBody>
      </p:sp>
      <p:sp>
        <p:nvSpPr>
          <p:cNvPr id="16" name="Rectangle 15">
            <a:extLst>
              <a:ext uri="{FF2B5EF4-FFF2-40B4-BE49-F238E27FC236}">
                <a16:creationId xmlns:a16="http://schemas.microsoft.com/office/drawing/2014/main" id="{6FB4EF96-A4C1-4BF8-83FA-AEEFC8452240}"/>
              </a:ext>
            </a:extLst>
          </p:cNvPr>
          <p:cNvSpPr/>
          <p:nvPr/>
        </p:nvSpPr>
        <p:spPr>
          <a:xfrm>
            <a:off x="7699623" y="1788565"/>
            <a:ext cx="3857377" cy="585025"/>
          </a:xfrm>
          <a:prstGeom prst="rect">
            <a:avLst/>
          </a:prstGeom>
          <a:solidFill>
            <a:srgbClr val="00B050"/>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latin typeface="Tahoma" panose="020B0604030504040204" pitchFamily="34" charset="0"/>
                <a:ea typeface="Tahoma" panose="020B0604030504040204" pitchFamily="34" charset="0"/>
                <a:cs typeface="Tahoma" panose="020B0604030504040204" pitchFamily="34" charset="0"/>
              </a:rPr>
              <a:t>Manager</a:t>
            </a:r>
          </a:p>
        </p:txBody>
      </p:sp>
      <p:sp>
        <p:nvSpPr>
          <p:cNvPr id="19" name="Rectangle 18">
            <a:extLst>
              <a:ext uri="{FF2B5EF4-FFF2-40B4-BE49-F238E27FC236}">
                <a16:creationId xmlns:a16="http://schemas.microsoft.com/office/drawing/2014/main" id="{C9D67543-9418-46EA-AF01-B332CD027B50}"/>
              </a:ext>
            </a:extLst>
          </p:cNvPr>
          <p:cNvSpPr/>
          <p:nvPr/>
        </p:nvSpPr>
        <p:spPr>
          <a:xfrm>
            <a:off x="9745573" y="2598197"/>
            <a:ext cx="1811427" cy="585025"/>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latin typeface="Tahoma" panose="020B0604030504040204" pitchFamily="34" charset="0"/>
                <a:ea typeface="Tahoma" panose="020B0604030504040204" pitchFamily="34" charset="0"/>
                <a:cs typeface="Tahoma" panose="020B0604030504040204" pitchFamily="34" charset="0"/>
              </a:rPr>
              <a:t>Sen C</a:t>
            </a:r>
          </a:p>
        </p:txBody>
      </p:sp>
      <p:grpSp>
        <p:nvGrpSpPr>
          <p:cNvPr id="24" name="Group 23">
            <a:extLst>
              <a:ext uri="{FF2B5EF4-FFF2-40B4-BE49-F238E27FC236}">
                <a16:creationId xmlns:a16="http://schemas.microsoft.com/office/drawing/2014/main" id="{2DBEB26B-A433-4490-927F-93900951C255}"/>
              </a:ext>
            </a:extLst>
          </p:cNvPr>
          <p:cNvGrpSpPr/>
          <p:nvPr/>
        </p:nvGrpSpPr>
        <p:grpSpPr>
          <a:xfrm>
            <a:off x="7699623" y="3407831"/>
            <a:ext cx="1811427" cy="585025"/>
            <a:chOff x="3403600" y="4216400"/>
            <a:chExt cx="1920240" cy="568960"/>
          </a:xfrm>
        </p:grpSpPr>
        <p:sp>
          <p:nvSpPr>
            <p:cNvPr id="25" name="Rectangle 24">
              <a:extLst>
                <a:ext uri="{FF2B5EF4-FFF2-40B4-BE49-F238E27FC236}">
                  <a16:creationId xmlns:a16="http://schemas.microsoft.com/office/drawing/2014/main" id="{A9624191-E83E-4ADD-8FB8-5329C14AA19D}"/>
                </a:ext>
              </a:extLst>
            </p:cNvPr>
            <p:cNvSpPr/>
            <p:nvPr/>
          </p:nvSpPr>
          <p:spPr>
            <a:xfrm>
              <a:off x="3403600" y="4216400"/>
              <a:ext cx="873760" cy="568960"/>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latin typeface="Tahoma" panose="020B0604030504040204" pitchFamily="34" charset="0"/>
                  <a:ea typeface="Tahoma" panose="020B0604030504040204" pitchFamily="34" charset="0"/>
                  <a:cs typeface="Tahoma" panose="020B0604030504040204" pitchFamily="34" charset="0"/>
                </a:rPr>
                <a:t>C</a:t>
              </a:r>
            </a:p>
          </p:txBody>
        </p:sp>
        <p:sp>
          <p:nvSpPr>
            <p:cNvPr id="26" name="Rectangle 25">
              <a:extLst>
                <a:ext uri="{FF2B5EF4-FFF2-40B4-BE49-F238E27FC236}">
                  <a16:creationId xmlns:a16="http://schemas.microsoft.com/office/drawing/2014/main" id="{8B04492A-A7F9-4076-A6DF-339D8C9A5EE5}"/>
                </a:ext>
              </a:extLst>
            </p:cNvPr>
            <p:cNvSpPr/>
            <p:nvPr/>
          </p:nvSpPr>
          <p:spPr>
            <a:xfrm>
              <a:off x="4450080" y="4216400"/>
              <a:ext cx="873760" cy="568960"/>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latin typeface="Tahoma" panose="020B0604030504040204" pitchFamily="34" charset="0"/>
                  <a:ea typeface="Tahoma" panose="020B0604030504040204" pitchFamily="34" charset="0"/>
                  <a:cs typeface="Tahoma" panose="020B0604030504040204" pitchFamily="34" charset="0"/>
                </a:rPr>
                <a:t>C</a:t>
              </a:r>
            </a:p>
          </p:txBody>
        </p:sp>
      </p:grpSp>
      <p:grpSp>
        <p:nvGrpSpPr>
          <p:cNvPr id="27" name="Group 26">
            <a:extLst>
              <a:ext uri="{FF2B5EF4-FFF2-40B4-BE49-F238E27FC236}">
                <a16:creationId xmlns:a16="http://schemas.microsoft.com/office/drawing/2014/main" id="{62F02A9C-5D11-40F1-B022-34B332F018CE}"/>
              </a:ext>
            </a:extLst>
          </p:cNvPr>
          <p:cNvGrpSpPr/>
          <p:nvPr/>
        </p:nvGrpSpPr>
        <p:grpSpPr>
          <a:xfrm>
            <a:off x="9745573" y="3407831"/>
            <a:ext cx="1811427" cy="585025"/>
            <a:chOff x="3403600" y="4216400"/>
            <a:chExt cx="1920240" cy="568960"/>
          </a:xfrm>
        </p:grpSpPr>
        <p:sp>
          <p:nvSpPr>
            <p:cNvPr id="28" name="Rectangle 27">
              <a:extLst>
                <a:ext uri="{FF2B5EF4-FFF2-40B4-BE49-F238E27FC236}">
                  <a16:creationId xmlns:a16="http://schemas.microsoft.com/office/drawing/2014/main" id="{B0828882-DE88-45ED-9A03-34A19EA82A38}"/>
                </a:ext>
              </a:extLst>
            </p:cNvPr>
            <p:cNvSpPr/>
            <p:nvPr/>
          </p:nvSpPr>
          <p:spPr>
            <a:xfrm>
              <a:off x="3403600" y="4216400"/>
              <a:ext cx="873760" cy="568960"/>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latin typeface="Tahoma" panose="020B0604030504040204" pitchFamily="34" charset="0"/>
                  <a:ea typeface="Tahoma" panose="020B0604030504040204" pitchFamily="34" charset="0"/>
                  <a:cs typeface="Tahoma" panose="020B0604030504040204" pitchFamily="34" charset="0"/>
                </a:rPr>
                <a:t>C</a:t>
              </a:r>
            </a:p>
          </p:txBody>
        </p:sp>
        <p:sp>
          <p:nvSpPr>
            <p:cNvPr id="29" name="Rectangle 28">
              <a:extLst>
                <a:ext uri="{FF2B5EF4-FFF2-40B4-BE49-F238E27FC236}">
                  <a16:creationId xmlns:a16="http://schemas.microsoft.com/office/drawing/2014/main" id="{87C4B138-446E-4F3D-A268-F7DE7AC4DF6C}"/>
                </a:ext>
              </a:extLst>
            </p:cNvPr>
            <p:cNvSpPr/>
            <p:nvPr/>
          </p:nvSpPr>
          <p:spPr>
            <a:xfrm>
              <a:off x="4450080" y="4216400"/>
              <a:ext cx="873760" cy="568960"/>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latin typeface="Tahoma" panose="020B0604030504040204" pitchFamily="34" charset="0"/>
                  <a:ea typeface="Tahoma" panose="020B0604030504040204" pitchFamily="34" charset="0"/>
                  <a:cs typeface="Tahoma" panose="020B0604030504040204" pitchFamily="34" charset="0"/>
                </a:rPr>
                <a:t>C</a:t>
              </a:r>
            </a:p>
          </p:txBody>
        </p:sp>
      </p:grpSp>
      <p:sp>
        <p:nvSpPr>
          <p:cNvPr id="34" name="TextBox 33">
            <a:extLst>
              <a:ext uri="{FF2B5EF4-FFF2-40B4-BE49-F238E27FC236}">
                <a16:creationId xmlns:a16="http://schemas.microsoft.com/office/drawing/2014/main" id="{498391CE-FB41-4C97-B4FD-82D83A5ABC92}"/>
              </a:ext>
            </a:extLst>
          </p:cNvPr>
          <p:cNvSpPr txBox="1"/>
          <p:nvPr/>
        </p:nvSpPr>
        <p:spPr>
          <a:xfrm>
            <a:off x="8547573" y="4132981"/>
            <a:ext cx="2231701" cy="584775"/>
          </a:xfrm>
          <a:prstGeom prst="rect">
            <a:avLst/>
          </a:prstGeom>
          <a:noFill/>
        </p:spPr>
        <p:txBody>
          <a:bodyPr wrap="none" rtlCol="0">
            <a:spAutoFit/>
          </a:bodyPr>
          <a:lstStyle/>
          <a:p>
            <a:pPr algn="ctr"/>
            <a:r>
              <a:rPr lang="en-GB" sz="1600" b="1">
                <a:solidFill>
                  <a:srgbClr val="002060"/>
                </a:solidFill>
                <a:latin typeface="Tahoma" panose="020B0604030504040204" pitchFamily="34" charset="0"/>
                <a:ea typeface="Tahoma" panose="020B0604030504040204" pitchFamily="34" charset="0"/>
                <a:cs typeface="Tahoma" panose="020B0604030504040204" pitchFamily="34" charset="0"/>
              </a:rPr>
              <a:t>Typical </a:t>
            </a:r>
          </a:p>
          <a:p>
            <a:pPr algn="ctr"/>
            <a:r>
              <a:rPr lang="en-GB" sz="1600" b="1">
                <a:solidFill>
                  <a:srgbClr val="002060"/>
                </a:solidFill>
                <a:latin typeface="Tahoma" panose="020B0604030504040204" pitchFamily="34" charset="0"/>
                <a:ea typeface="Tahoma" panose="020B0604030504040204" pitchFamily="34" charset="0"/>
                <a:cs typeface="Tahoma" panose="020B0604030504040204" pitchFamily="34" charset="0"/>
              </a:rPr>
              <a:t>£650 - 700k margin</a:t>
            </a:r>
          </a:p>
        </p:txBody>
      </p:sp>
      <p:sp>
        <p:nvSpPr>
          <p:cNvPr id="42" name="TextBox 41">
            <a:extLst>
              <a:ext uri="{FF2B5EF4-FFF2-40B4-BE49-F238E27FC236}">
                <a16:creationId xmlns:a16="http://schemas.microsoft.com/office/drawing/2014/main" id="{D9361E17-E7CF-4D5F-A22A-F2710FEF0937}"/>
              </a:ext>
            </a:extLst>
          </p:cNvPr>
          <p:cNvSpPr txBox="1"/>
          <p:nvPr/>
        </p:nvSpPr>
        <p:spPr>
          <a:xfrm>
            <a:off x="6666058" y="2267768"/>
            <a:ext cx="480901" cy="492443"/>
          </a:xfrm>
          <a:prstGeom prst="rect">
            <a:avLst/>
          </a:prstGeom>
          <a:solidFill>
            <a:schemeClr val="bg1"/>
          </a:solidFill>
        </p:spPr>
        <p:txBody>
          <a:bodyPr wrap="none" lIns="0" tIns="0" rIns="0" bIns="0" rtlCol="0">
            <a:spAutoFit/>
          </a:bodyPr>
          <a:lstStyle/>
          <a:p>
            <a:pPr algn="ctr"/>
            <a:r>
              <a:rPr lang="en-GB" sz="1600" i="1">
                <a:solidFill>
                  <a:srgbClr val="FF0000"/>
                </a:solidFill>
                <a:latin typeface="Tahoma" panose="020B0604030504040204" pitchFamily="34" charset="0"/>
                <a:ea typeface="Tahoma" panose="020B0604030504040204" pitchFamily="34" charset="0"/>
                <a:cs typeface="Tahoma" panose="020B0604030504040204" pitchFamily="34" charset="0"/>
              </a:rPr>
              <a:t>2 – 3</a:t>
            </a:r>
            <a:br>
              <a:rPr lang="en-GB" sz="1600" i="1">
                <a:solidFill>
                  <a:srgbClr val="FF0000"/>
                </a:solidFill>
                <a:latin typeface="Tahoma" panose="020B0604030504040204" pitchFamily="34" charset="0"/>
                <a:ea typeface="Tahoma" panose="020B0604030504040204" pitchFamily="34" charset="0"/>
                <a:cs typeface="Tahoma" panose="020B0604030504040204" pitchFamily="34" charset="0"/>
              </a:rPr>
            </a:br>
            <a:r>
              <a:rPr lang="en-GB" sz="1600" i="1">
                <a:solidFill>
                  <a:srgbClr val="FF0000"/>
                </a:solidFill>
                <a:latin typeface="Tahoma" panose="020B0604030504040204" pitchFamily="34" charset="0"/>
                <a:ea typeface="Tahoma" panose="020B0604030504040204" pitchFamily="34" charset="0"/>
                <a:cs typeface="Tahoma" panose="020B0604030504040204" pitchFamily="34" charset="0"/>
              </a:rPr>
              <a:t>years</a:t>
            </a:r>
          </a:p>
        </p:txBody>
      </p:sp>
      <p:sp>
        <p:nvSpPr>
          <p:cNvPr id="43" name="Arrow: Down 42">
            <a:extLst>
              <a:ext uri="{FF2B5EF4-FFF2-40B4-BE49-F238E27FC236}">
                <a16:creationId xmlns:a16="http://schemas.microsoft.com/office/drawing/2014/main" id="{5EEA7BC0-364F-4493-A3CD-37B9A14C5EFB}"/>
              </a:ext>
            </a:extLst>
          </p:cNvPr>
          <p:cNvSpPr/>
          <p:nvPr/>
        </p:nvSpPr>
        <p:spPr>
          <a:xfrm>
            <a:off x="5278525" y="5438185"/>
            <a:ext cx="1442872" cy="353016"/>
          </a:xfrm>
          <a:prstGeom prst="downArrow">
            <a:avLst>
              <a:gd name="adj1" fmla="val 50000"/>
              <a:gd name="adj2" fmla="val 100000"/>
            </a:avLst>
          </a:prstGeom>
          <a:solidFill>
            <a:srgbClr val="0020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600" err="1">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44" name="TextBox 43">
            <a:extLst>
              <a:ext uri="{FF2B5EF4-FFF2-40B4-BE49-F238E27FC236}">
                <a16:creationId xmlns:a16="http://schemas.microsoft.com/office/drawing/2014/main" id="{A17B5607-51E5-46A4-8BE5-52EC1A2D54AE}"/>
              </a:ext>
            </a:extLst>
          </p:cNvPr>
          <p:cNvSpPr txBox="1"/>
          <p:nvPr/>
        </p:nvSpPr>
        <p:spPr>
          <a:xfrm>
            <a:off x="1808922" y="5928074"/>
            <a:ext cx="8382078" cy="526070"/>
          </a:xfrm>
          <a:prstGeom prst="rect">
            <a:avLst/>
          </a:prstGeom>
          <a:noFill/>
        </p:spPr>
        <p:txBody>
          <a:bodyPr vert="horz" wrap="square" lIns="36000" tIns="36000" rIns="36000" bIns="36000" rtlCol="0">
            <a:noAutofit/>
          </a:bodyPr>
          <a:lstStyle/>
          <a:p>
            <a:pPr algn="ctr"/>
            <a:r>
              <a:rPr lang="en-GB" i="1" dirty="0">
                <a:solidFill>
                  <a:srgbClr val="002060"/>
                </a:solidFill>
                <a:latin typeface="Tahoma" panose="020B0604030504040204" pitchFamily="34" charset="0"/>
                <a:ea typeface="Tahoma" panose="020B0604030504040204" pitchFamily="34" charset="0"/>
                <a:cs typeface="Tahoma" panose="020B0604030504040204" pitchFamily="34" charset="0"/>
              </a:rPr>
              <a:t>Reducing “time-to-promote” by just 6 months can </a:t>
            </a:r>
            <a:r>
              <a:rPr lang="en-GB" b="1" i="1" dirty="0">
                <a:solidFill>
                  <a:srgbClr val="002060"/>
                </a:solidFill>
                <a:latin typeface="Tahoma" panose="020B0604030504040204" pitchFamily="34" charset="0"/>
                <a:ea typeface="Tahoma" panose="020B0604030504040204" pitchFamily="34" charset="0"/>
                <a:cs typeface="Tahoma" panose="020B0604030504040204" pitchFamily="34" charset="0"/>
              </a:rPr>
              <a:t>increase total margin that person contributes by half a million pounds over a 6-year period</a:t>
            </a:r>
          </a:p>
        </p:txBody>
      </p:sp>
      <p:sp>
        <p:nvSpPr>
          <p:cNvPr id="7" name="Speech Bubble: Rectangle 6">
            <a:extLst>
              <a:ext uri="{FF2B5EF4-FFF2-40B4-BE49-F238E27FC236}">
                <a16:creationId xmlns:a16="http://schemas.microsoft.com/office/drawing/2014/main" id="{762D94EB-3E7B-4AA1-BBE6-D2B693766ABA}"/>
              </a:ext>
            </a:extLst>
          </p:cNvPr>
          <p:cNvSpPr/>
          <p:nvPr/>
        </p:nvSpPr>
        <p:spPr>
          <a:xfrm>
            <a:off x="452439" y="1416539"/>
            <a:ext cx="5636788" cy="853035"/>
          </a:xfrm>
          <a:prstGeom prst="wedgeRectCallout">
            <a:avLst>
              <a:gd name="adj1" fmla="val 58686"/>
              <a:gd name="adj2" fmla="val 5476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8900">
              <a:spcBef>
                <a:spcPts val="600"/>
              </a:spcBef>
            </a:pPr>
            <a:r>
              <a:rPr lang="en-GB" dirty="0">
                <a:solidFill>
                  <a:schemeClr val="bg1"/>
                </a:solidFill>
                <a:latin typeface="Tahoma" panose="020B0604030504040204" pitchFamily="34" charset="0"/>
                <a:ea typeface="Tahoma" panose="020B0604030504040204" pitchFamily="34" charset="0"/>
                <a:cs typeface="Tahoma" panose="020B0604030504040204" pitchFamily="34" charset="0"/>
              </a:rPr>
              <a:t>@ 3-year promotions = £1.1m margin over 6 years</a:t>
            </a:r>
          </a:p>
          <a:p>
            <a:pPr marL="88900">
              <a:spcBef>
                <a:spcPts val="600"/>
              </a:spcBef>
            </a:pPr>
            <a:r>
              <a:rPr lang="en-GB" dirty="0">
                <a:solidFill>
                  <a:schemeClr val="bg1"/>
                </a:solidFill>
                <a:latin typeface="Tahoma" panose="020B0604030504040204" pitchFamily="34" charset="0"/>
                <a:ea typeface="Tahoma" panose="020B0604030504040204" pitchFamily="34" charset="0"/>
                <a:cs typeface="Tahoma" panose="020B0604030504040204" pitchFamily="34" charset="0"/>
              </a:rPr>
              <a:t>@ 2.5-year promotions = £1.6m margin over 6 years</a:t>
            </a:r>
          </a:p>
        </p:txBody>
      </p:sp>
      <p:sp>
        <p:nvSpPr>
          <p:cNvPr id="31" name="Google Shape;113;p2">
            <a:extLst>
              <a:ext uri="{FF2B5EF4-FFF2-40B4-BE49-F238E27FC236}">
                <a16:creationId xmlns:a16="http://schemas.microsoft.com/office/drawing/2014/main" id="{AD40CC13-C578-4F3B-93E3-B1386029E267}"/>
              </a:ext>
            </a:extLst>
          </p:cNvPr>
          <p:cNvSpPr txBox="1">
            <a:spLocks/>
          </p:cNvSpPr>
          <p:nvPr/>
        </p:nvSpPr>
        <p:spPr>
          <a:xfrm>
            <a:off x="11633538" y="6623532"/>
            <a:ext cx="163804" cy="184666"/>
          </a:xfrm>
          <a:prstGeom prst="rect">
            <a:avLst/>
          </a:prstGeom>
          <a:noFill/>
          <a:ln>
            <a:noFill/>
          </a:ln>
        </p:spPr>
        <p:txBody>
          <a:bodyPr spcFirstLastPara="1" wrap="square" lIns="0" tIns="0" rIns="0" bIns="0" anchor="t" anchorCtr="0">
            <a:sp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687617"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1375235"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2062852"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275047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3438086" algn="l" defTabSz="1375235" rtl="0" eaLnBrk="1" latinLnBrk="0" hangingPunct="1">
              <a:defRPr kern="1200">
                <a:solidFill>
                  <a:schemeClr val="tx1"/>
                </a:solidFill>
                <a:latin typeface="Calibri" panose="020F0502020204030204" pitchFamily="34" charset="0"/>
                <a:ea typeface="+mn-ea"/>
                <a:cs typeface="+mn-cs"/>
              </a:defRPr>
            </a:lvl6pPr>
            <a:lvl7pPr marL="4125703" algn="l" defTabSz="1375235" rtl="0" eaLnBrk="1" latinLnBrk="0" hangingPunct="1">
              <a:defRPr kern="1200">
                <a:solidFill>
                  <a:schemeClr val="tx1"/>
                </a:solidFill>
                <a:latin typeface="Calibri" panose="020F0502020204030204" pitchFamily="34" charset="0"/>
                <a:ea typeface="+mn-ea"/>
                <a:cs typeface="+mn-cs"/>
              </a:defRPr>
            </a:lvl7pPr>
            <a:lvl8pPr marL="4813320" algn="l" defTabSz="1375235" rtl="0" eaLnBrk="1" latinLnBrk="0" hangingPunct="1">
              <a:defRPr kern="1200">
                <a:solidFill>
                  <a:schemeClr val="tx1"/>
                </a:solidFill>
                <a:latin typeface="Calibri" panose="020F0502020204030204" pitchFamily="34" charset="0"/>
                <a:ea typeface="+mn-ea"/>
                <a:cs typeface="+mn-cs"/>
              </a:defRPr>
            </a:lvl8pPr>
            <a:lvl9pPr marL="5500937" algn="l" defTabSz="1375235" rtl="0" eaLnBrk="1" latinLnBrk="0" hangingPunct="1">
              <a:defRPr kern="1200">
                <a:solidFill>
                  <a:schemeClr val="tx1"/>
                </a:solidFill>
                <a:latin typeface="Calibri" panose="020F0502020204030204" pitchFamily="34" charset="0"/>
                <a:ea typeface="+mn-ea"/>
                <a:cs typeface="+mn-cs"/>
              </a:defRPr>
            </a:lvl9pPr>
          </a:lstStyle>
          <a:p>
            <a:pPr>
              <a:spcAft>
                <a:spcPts val="0"/>
              </a:spcAft>
            </a:pPr>
            <a:fld id="{00000000-1234-1234-1234-123412341234}" type="slidenum">
              <a:rPr lang="en-GB" sz="1200"/>
              <a:pPr>
                <a:spcAft>
                  <a:spcPts val="0"/>
                </a:spcAft>
              </a:pPr>
              <a:t>2</a:t>
            </a:fld>
            <a:endParaRPr lang="en-GB" sz="1200"/>
          </a:p>
        </p:txBody>
      </p:sp>
    </p:spTree>
    <p:extLst>
      <p:ext uri="{BB962C8B-B14F-4D97-AF65-F5344CB8AC3E}">
        <p14:creationId xmlns:p14="http://schemas.microsoft.com/office/powerpoint/2010/main" val="2801987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9"/>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2"/>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7"/>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44"/>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 grpId="0" animBg="1"/>
      <p:bldP spid="32" grpId="0"/>
      <p:bldP spid="12" grpId="0" animBg="1"/>
      <p:bldP spid="33" grpId="0"/>
      <p:bldP spid="15" grpId="0" animBg="1"/>
      <p:bldP spid="16" grpId="0" animBg="1"/>
      <p:bldP spid="19" grpId="0" animBg="1"/>
      <p:bldP spid="34" grpId="0"/>
      <p:bldP spid="42" grpId="0" animBg="1"/>
      <p:bldP spid="43" grpId="0" animBg="1"/>
      <p:bldP spid="44" grpId="0"/>
      <p:bldP spid="7"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8925EB-98C2-48AD-B1D7-CA9C567F61F3}"/>
              </a:ext>
            </a:extLst>
          </p:cNvPr>
          <p:cNvSpPr>
            <a:spLocks noGrp="1"/>
          </p:cNvSpPr>
          <p:nvPr>
            <p:ph type="title"/>
          </p:nvPr>
        </p:nvSpPr>
        <p:spPr/>
        <p:txBody>
          <a:bodyPr/>
          <a:lstStyle/>
          <a:p>
            <a:r>
              <a:rPr lang="en-GB" dirty="0"/>
              <a:t>Example: Project Resourcing decision process</a:t>
            </a:r>
          </a:p>
        </p:txBody>
      </p:sp>
      <p:pic>
        <p:nvPicPr>
          <p:cNvPr id="3" name="Picture 2">
            <a:extLst>
              <a:ext uri="{FF2B5EF4-FFF2-40B4-BE49-F238E27FC236}">
                <a16:creationId xmlns:a16="http://schemas.microsoft.com/office/drawing/2014/main" id="{63C48CE0-CBA4-4B86-8A1C-DD75618876E0}"/>
              </a:ext>
            </a:extLst>
          </p:cNvPr>
          <p:cNvPicPr>
            <a:picLocks noChangeAspect="1"/>
          </p:cNvPicPr>
          <p:nvPr/>
        </p:nvPicPr>
        <p:blipFill>
          <a:blip r:embed="rId2"/>
          <a:stretch>
            <a:fillRect/>
          </a:stretch>
        </p:blipFill>
        <p:spPr>
          <a:xfrm>
            <a:off x="1182959" y="1124494"/>
            <a:ext cx="9826081" cy="552824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4" name="Slide Number Placeholder 3">
            <a:extLst>
              <a:ext uri="{FF2B5EF4-FFF2-40B4-BE49-F238E27FC236}">
                <a16:creationId xmlns:a16="http://schemas.microsoft.com/office/drawing/2014/main" id="{FF937854-C39F-5512-F9B0-FB9117CE0130}"/>
              </a:ext>
            </a:extLst>
          </p:cNvPr>
          <p:cNvSpPr>
            <a:spLocks noGrp="1"/>
          </p:cNvSpPr>
          <p:nvPr>
            <p:ph type="sldNum" sz="quarter" idx="4"/>
          </p:nvPr>
        </p:nvSpPr>
        <p:spPr/>
        <p:txBody>
          <a:bodyPr/>
          <a:lstStyle/>
          <a:p>
            <a:fld id="{B8887534-9256-4D4A-AB4E-4EBB84A560FF}" type="slidenum">
              <a:rPr lang="en-GB" smtClean="0"/>
              <a:pPr/>
              <a:t>20</a:t>
            </a:fld>
            <a:endParaRPr lang="en-GB"/>
          </a:p>
        </p:txBody>
      </p:sp>
      <p:sp>
        <p:nvSpPr>
          <p:cNvPr id="5" name="TextBox 4">
            <a:extLst>
              <a:ext uri="{FF2B5EF4-FFF2-40B4-BE49-F238E27FC236}">
                <a16:creationId xmlns:a16="http://schemas.microsoft.com/office/drawing/2014/main" id="{6B6AEB50-33BD-3924-7EC8-35C4D1E8F341}"/>
              </a:ext>
            </a:extLst>
          </p:cNvPr>
          <p:cNvSpPr txBox="1"/>
          <p:nvPr/>
        </p:nvSpPr>
        <p:spPr>
          <a:xfrm>
            <a:off x="10505661" y="94030"/>
            <a:ext cx="1528396" cy="664469"/>
          </a:xfrm>
          <a:prstGeom prst="rect">
            <a:avLst/>
          </a:prstGeom>
          <a:solidFill>
            <a:schemeClr val="accent2"/>
          </a:solidFill>
        </p:spPr>
        <p:txBody>
          <a:bodyPr wrap="square" rtlCol="0" anchor="ctr" anchorCtr="0">
            <a:noAutofit/>
          </a:bodyPr>
          <a:lstStyle>
            <a:defPPr>
              <a:defRPr lang="en-US"/>
            </a:defPPr>
            <a:lvl1pPr algn="ctr">
              <a:spcBef>
                <a:spcPts val="1200"/>
              </a:spcBef>
              <a:defRPr sz="1600" b="1">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GB" sz="1100" dirty="0"/>
              <a:t>Option: Alignment with decision processes </a:t>
            </a:r>
          </a:p>
        </p:txBody>
      </p:sp>
    </p:spTree>
    <p:extLst>
      <p:ext uri="{BB962C8B-B14F-4D97-AF65-F5344CB8AC3E}">
        <p14:creationId xmlns:p14="http://schemas.microsoft.com/office/powerpoint/2010/main" val="11516267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8925EB-98C2-48AD-B1D7-CA9C567F61F3}"/>
              </a:ext>
            </a:extLst>
          </p:cNvPr>
          <p:cNvSpPr>
            <a:spLocks noGrp="1"/>
          </p:cNvSpPr>
          <p:nvPr>
            <p:ph type="title"/>
          </p:nvPr>
        </p:nvSpPr>
        <p:spPr/>
        <p:txBody>
          <a:bodyPr/>
          <a:lstStyle/>
          <a:p>
            <a:r>
              <a:rPr lang="en-GB" dirty="0"/>
              <a:t>Example: Project Resourcing decision rights &amp; roles</a:t>
            </a:r>
          </a:p>
        </p:txBody>
      </p:sp>
      <p:pic>
        <p:nvPicPr>
          <p:cNvPr id="5" name="Picture 4">
            <a:extLst>
              <a:ext uri="{FF2B5EF4-FFF2-40B4-BE49-F238E27FC236}">
                <a16:creationId xmlns:a16="http://schemas.microsoft.com/office/drawing/2014/main" id="{381D3977-3CC2-4F98-95A8-590045A7C912}"/>
              </a:ext>
            </a:extLst>
          </p:cNvPr>
          <p:cNvPicPr>
            <a:picLocks noChangeAspect="1"/>
          </p:cNvPicPr>
          <p:nvPr/>
        </p:nvPicPr>
        <p:blipFill>
          <a:blip r:embed="rId2"/>
          <a:stretch>
            <a:fillRect/>
          </a:stretch>
        </p:blipFill>
        <p:spPr>
          <a:xfrm>
            <a:off x="1182958" y="1124493"/>
            <a:ext cx="9826081" cy="552824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3" name="Slide Number Placeholder 2">
            <a:extLst>
              <a:ext uri="{FF2B5EF4-FFF2-40B4-BE49-F238E27FC236}">
                <a16:creationId xmlns:a16="http://schemas.microsoft.com/office/drawing/2014/main" id="{C27CE720-D1EE-0856-209D-8E433CEE02B6}"/>
              </a:ext>
            </a:extLst>
          </p:cNvPr>
          <p:cNvSpPr>
            <a:spLocks noGrp="1"/>
          </p:cNvSpPr>
          <p:nvPr>
            <p:ph type="sldNum" sz="quarter" idx="4"/>
          </p:nvPr>
        </p:nvSpPr>
        <p:spPr/>
        <p:txBody>
          <a:bodyPr/>
          <a:lstStyle/>
          <a:p>
            <a:fld id="{B8887534-9256-4D4A-AB4E-4EBB84A560FF}" type="slidenum">
              <a:rPr lang="en-GB" smtClean="0"/>
              <a:pPr/>
              <a:t>21</a:t>
            </a:fld>
            <a:endParaRPr lang="en-GB"/>
          </a:p>
        </p:txBody>
      </p:sp>
      <p:sp>
        <p:nvSpPr>
          <p:cNvPr id="4" name="TextBox 3">
            <a:extLst>
              <a:ext uri="{FF2B5EF4-FFF2-40B4-BE49-F238E27FC236}">
                <a16:creationId xmlns:a16="http://schemas.microsoft.com/office/drawing/2014/main" id="{0113A16F-343F-FEA2-221B-FBE717CC7E94}"/>
              </a:ext>
            </a:extLst>
          </p:cNvPr>
          <p:cNvSpPr txBox="1"/>
          <p:nvPr/>
        </p:nvSpPr>
        <p:spPr>
          <a:xfrm>
            <a:off x="10505661" y="94030"/>
            <a:ext cx="1528396" cy="664469"/>
          </a:xfrm>
          <a:prstGeom prst="rect">
            <a:avLst/>
          </a:prstGeom>
          <a:solidFill>
            <a:schemeClr val="accent2"/>
          </a:solidFill>
        </p:spPr>
        <p:txBody>
          <a:bodyPr wrap="square" rtlCol="0" anchor="ctr" anchorCtr="0">
            <a:noAutofit/>
          </a:bodyPr>
          <a:lstStyle>
            <a:defPPr>
              <a:defRPr lang="en-US"/>
            </a:defPPr>
            <a:lvl1pPr algn="ctr">
              <a:spcBef>
                <a:spcPts val="1200"/>
              </a:spcBef>
              <a:defRPr sz="1600" b="1">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GB" sz="1100" dirty="0"/>
              <a:t>Option: Alignment with decision processes </a:t>
            </a:r>
          </a:p>
        </p:txBody>
      </p:sp>
    </p:spTree>
    <p:extLst>
      <p:ext uri="{BB962C8B-B14F-4D97-AF65-F5344CB8AC3E}">
        <p14:creationId xmlns:p14="http://schemas.microsoft.com/office/powerpoint/2010/main" val="39187279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a:extLst>
              <a:ext uri="{FF2B5EF4-FFF2-40B4-BE49-F238E27FC236}">
                <a16:creationId xmlns:a16="http://schemas.microsoft.com/office/drawing/2014/main" id="{83FFDF73-0C03-4DC3-934D-EA22519E109E}"/>
              </a:ext>
            </a:extLst>
          </p:cNvPr>
          <p:cNvSpPr txBox="1">
            <a:spLocks/>
          </p:cNvSpPr>
          <p:nvPr/>
        </p:nvSpPr>
        <p:spPr>
          <a:xfrm>
            <a:off x="485661" y="244180"/>
            <a:ext cx="11196266" cy="315912"/>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Segoe UI" panose="020B0502040204020203" pitchFamily="34" charset="0"/>
                <a:ea typeface="+mj-ea"/>
                <a:cs typeface="Segoe UI" panose="020B0502040204020203" pitchFamily="34" charset="0"/>
              </a:defRPr>
            </a:lvl1pPr>
          </a:lstStyle>
          <a:p>
            <a:r>
              <a:rPr lang="en-GB" dirty="0"/>
              <a:t>Impact Analytics builds depth &amp; value of insight over time</a:t>
            </a:r>
            <a:endParaRPr lang="en-GB" u="sng" dirty="0"/>
          </a:p>
        </p:txBody>
      </p:sp>
      <p:sp>
        <p:nvSpPr>
          <p:cNvPr id="16" name="Google Shape;113;p2">
            <a:extLst>
              <a:ext uri="{FF2B5EF4-FFF2-40B4-BE49-F238E27FC236}">
                <a16:creationId xmlns:a16="http://schemas.microsoft.com/office/drawing/2014/main" id="{73495F75-0C85-9B5D-C0AE-FF8949B1FF38}"/>
              </a:ext>
            </a:extLst>
          </p:cNvPr>
          <p:cNvSpPr txBox="1">
            <a:spLocks/>
          </p:cNvSpPr>
          <p:nvPr/>
        </p:nvSpPr>
        <p:spPr>
          <a:xfrm>
            <a:off x="11681927" y="6613022"/>
            <a:ext cx="163804" cy="184666"/>
          </a:xfrm>
          <a:prstGeom prst="rect">
            <a:avLst/>
          </a:prstGeom>
          <a:noFill/>
          <a:ln>
            <a:noFill/>
          </a:ln>
        </p:spPr>
        <p:txBody>
          <a:bodyPr spcFirstLastPara="1" wrap="square" lIns="0" tIns="0" rIns="0" bIns="0" anchor="t" anchorCtr="0">
            <a:sp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687617"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1375235"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2062852"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275047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3438086" algn="l" defTabSz="1375235" rtl="0" eaLnBrk="1" latinLnBrk="0" hangingPunct="1">
              <a:defRPr kern="1200">
                <a:solidFill>
                  <a:schemeClr val="tx1"/>
                </a:solidFill>
                <a:latin typeface="Calibri" panose="020F0502020204030204" pitchFamily="34" charset="0"/>
                <a:ea typeface="+mn-ea"/>
                <a:cs typeface="+mn-cs"/>
              </a:defRPr>
            </a:lvl6pPr>
            <a:lvl7pPr marL="4125703" algn="l" defTabSz="1375235" rtl="0" eaLnBrk="1" latinLnBrk="0" hangingPunct="1">
              <a:defRPr kern="1200">
                <a:solidFill>
                  <a:schemeClr val="tx1"/>
                </a:solidFill>
                <a:latin typeface="Calibri" panose="020F0502020204030204" pitchFamily="34" charset="0"/>
                <a:ea typeface="+mn-ea"/>
                <a:cs typeface="+mn-cs"/>
              </a:defRPr>
            </a:lvl7pPr>
            <a:lvl8pPr marL="4813320" algn="l" defTabSz="1375235" rtl="0" eaLnBrk="1" latinLnBrk="0" hangingPunct="1">
              <a:defRPr kern="1200">
                <a:solidFill>
                  <a:schemeClr val="tx1"/>
                </a:solidFill>
                <a:latin typeface="Calibri" panose="020F0502020204030204" pitchFamily="34" charset="0"/>
                <a:ea typeface="+mn-ea"/>
                <a:cs typeface="+mn-cs"/>
              </a:defRPr>
            </a:lvl8pPr>
            <a:lvl9pPr marL="5500937" algn="l" defTabSz="1375235" rtl="0" eaLnBrk="1" latinLnBrk="0" hangingPunct="1">
              <a:defRPr kern="1200">
                <a:solidFill>
                  <a:schemeClr val="tx1"/>
                </a:solidFill>
                <a:latin typeface="Calibri" panose="020F0502020204030204" pitchFamily="34" charset="0"/>
                <a:ea typeface="+mn-ea"/>
                <a:cs typeface="+mn-cs"/>
              </a:defRPr>
            </a:lvl9pPr>
          </a:lstStyle>
          <a:p>
            <a:pPr>
              <a:spcAft>
                <a:spcPts val="0"/>
              </a:spcAft>
            </a:pPr>
            <a:fld id="{00000000-1234-1234-1234-123412341234}" type="slidenum">
              <a:rPr lang="en-GB" sz="1200"/>
              <a:pPr>
                <a:spcAft>
                  <a:spcPts val="0"/>
                </a:spcAft>
              </a:pPr>
              <a:t>22</a:t>
            </a:fld>
            <a:endParaRPr lang="en-GB" sz="1200" dirty="0"/>
          </a:p>
        </p:txBody>
      </p:sp>
      <p:graphicFrame>
        <p:nvGraphicFramePr>
          <p:cNvPr id="9" name="Table 8">
            <a:extLst>
              <a:ext uri="{FF2B5EF4-FFF2-40B4-BE49-F238E27FC236}">
                <a16:creationId xmlns:a16="http://schemas.microsoft.com/office/drawing/2014/main" id="{26E76BB2-9C2E-F540-E142-737655BDA12C}"/>
              </a:ext>
            </a:extLst>
          </p:cNvPr>
          <p:cNvGraphicFramePr>
            <a:graphicFrameLocks noGrp="1"/>
          </p:cNvGraphicFramePr>
          <p:nvPr>
            <p:extLst>
              <p:ext uri="{D42A27DB-BD31-4B8C-83A1-F6EECF244321}">
                <p14:modId xmlns:p14="http://schemas.microsoft.com/office/powerpoint/2010/main" val="3735305914"/>
              </p:ext>
            </p:extLst>
          </p:nvPr>
        </p:nvGraphicFramePr>
        <p:xfrm>
          <a:off x="485661" y="1029688"/>
          <a:ext cx="11196267" cy="5181375"/>
        </p:xfrm>
        <a:graphic>
          <a:graphicData uri="http://schemas.openxmlformats.org/drawingml/2006/table">
            <a:tbl>
              <a:tblPr firstRow="1" bandRow="1">
                <a:tableStyleId>{073A0DAA-6AF3-43AB-8588-CEC1D06C72B9}</a:tableStyleId>
              </a:tblPr>
              <a:tblGrid>
                <a:gridCol w="1908708">
                  <a:extLst>
                    <a:ext uri="{9D8B030D-6E8A-4147-A177-3AD203B41FA5}">
                      <a16:colId xmlns:a16="http://schemas.microsoft.com/office/drawing/2014/main" val="187251809"/>
                    </a:ext>
                  </a:extLst>
                </a:gridCol>
                <a:gridCol w="2335657">
                  <a:extLst>
                    <a:ext uri="{9D8B030D-6E8A-4147-A177-3AD203B41FA5}">
                      <a16:colId xmlns:a16="http://schemas.microsoft.com/office/drawing/2014/main" val="3214365141"/>
                    </a:ext>
                  </a:extLst>
                </a:gridCol>
                <a:gridCol w="2335657">
                  <a:extLst>
                    <a:ext uri="{9D8B030D-6E8A-4147-A177-3AD203B41FA5}">
                      <a16:colId xmlns:a16="http://schemas.microsoft.com/office/drawing/2014/main" val="901577132"/>
                    </a:ext>
                  </a:extLst>
                </a:gridCol>
                <a:gridCol w="2335657">
                  <a:extLst>
                    <a:ext uri="{9D8B030D-6E8A-4147-A177-3AD203B41FA5}">
                      <a16:colId xmlns:a16="http://schemas.microsoft.com/office/drawing/2014/main" val="1149615707"/>
                    </a:ext>
                  </a:extLst>
                </a:gridCol>
                <a:gridCol w="2280588">
                  <a:extLst>
                    <a:ext uri="{9D8B030D-6E8A-4147-A177-3AD203B41FA5}">
                      <a16:colId xmlns:a16="http://schemas.microsoft.com/office/drawing/2014/main" val="676629979"/>
                    </a:ext>
                  </a:extLst>
                </a:gridCol>
              </a:tblGrid>
              <a:tr h="354975">
                <a:tc>
                  <a:txBody>
                    <a:bodyPr/>
                    <a:lstStyle/>
                    <a:p>
                      <a:pPr marL="0" algn="ctr" rtl="0" eaLnBrk="1" latinLnBrk="0" hangingPunct="1">
                        <a:spcBef>
                          <a:spcPts val="0"/>
                        </a:spcBef>
                        <a:spcAft>
                          <a:spcPts val="0"/>
                        </a:spcAft>
                      </a:pPr>
                      <a:r>
                        <a:rPr lang="en-US" sz="1050" kern="1200">
                          <a:solidFill>
                            <a:srgbClr val="FFFFFF"/>
                          </a:solidFill>
                          <a:effectLst/>
                          <a:latin typeface="Tahoma" panose="020B0604030504040204" pitchFamily="34" charset="0"/>
                          <a:ea typeface="Tahoma" panose="020B0604030504040204" pitchFamily="34" charset="0"/>
                          <a:cs typeface="Tahoma" panose="020B0604030504040204" pitchFamily="34" charset="0"/>
                        </a:rPr>
                        <a:t>Impact measure</a:t>
                      </a:r>
                      <a:endParaRPr lang="en-US" sz="1050">
                        <a:effectLst/>
                        <a:latin typeface="Tahoma" panose="020B0604030504040204" pitchFamily="34" charset="0"/>
                        <a:ea typeface="Tahoma" panose="020B0604030504040204" pitchFamily="34" charset="0"/>
                        <a:cs typeface="Tahoma" panose="020B0604030504040204" pitchFamily="34" charset="0"/>
                      </a:endParaRPr>
                    </a:p>
                  </a:txBody>
                  <a:tcPr marL="72000" marR="72000" marT="36000" marB="36000" anchor="ctr"/>
                </a:tc>
                <a:tc>
                  <a:txBody>
                    <a:bodyPr/>
                    <a:lstStyle/>
                    <a:p>
                      <a:pPr marL="0" algn="ctr" rtl="0" eaLnBrk="1" latinLnBrk="0" hangingPunct="1">
                        <a:spcBef>
                          <a:spcPts val="0"/>
                        </a:spcBef>
                        <a:spcAft>
                          <a:spcPts val="0"/>
                        </a:spcAft>
                      </a:pPr>
                      <a:r>
                        <a:rPr lang="en-US" sz="1050" kern="1200">
                          <a:solidFill>
                            <a:srgbClr val="FFFFFF"/>
                          </a:solidFill>
                          <a:effectLst/>
                          <a:latin typeface="Tahoma" panose="020B0604030504040204" pitchFamily="34" charset="0"/>
                          <a:ea typeface="Tahoma" panose="020B0604030504040204" pitchFamily="34" charset="0"/>
                          <a:cs typeface="Tahoma" panose="020B0604030504040204" pitchFamily="34" charset="0"/>
                        </a:rPr>
                        <a:t>Baselining Questions</a:t>
                      </a:r>
                      <a:endParaRPr lang="en-US" sz="1050">
                        <a:effectLst/>
                        <a:latin typeface="Tahoma" panose="020B0604030504040204" pitchFamily="34" charset="0"/>
                        <a:ea typeface="Tahoma" panose="020B0604030504040204" pitchFamily="34" charset="0"/>
                        <a:cs typeface="Tahoma" panose="020B0604030504040204" pitchFamily="34" charset="0"/>
                      </a:endParaRPr>
                    </a:p>
                  </a:txBody>
                  <a:tcPr marL="72000" marR="72000" marT="36000" marB="36000" anchor="ctr"/>
                </a:tc>
                <a:tc>
                  <a:txBody>
                    <a:bodyPr/>
                    <a:lstStyle/>
                    <a:p>
                      <a:pPr marL="0" algn="ctr" rtl="0" eaLnBrk="1" latinLnBrk="0" hangingPunct="1">
                        <a:spcBef>
                          <a:spcPts val="0"/>
                        </a:spcBef>
                        <a:spcAft>
                          <a:spcPts val="0"/>
                        </a:spcAft>
                      </a:pPr>
                      <a:r>
                        <a:rPr lang="en-US" sz="1050" kern="1200">
                          <a:solidFill>
                            <a:srgbClr val="FFFFFF"/>
                          </a:solidFill>
                          <a:effectLst/>
                          <a:latin typeface="Tahoma" panose="020B0604030504040204" pitchFamily="34" charset="0"/>
                          <a:ea typeface="Tahoma" panose="020B0604030504040204" pitchFamily="34" charset="0"/>
                          <a:cs typeface="Tahoma" panose="020B0604030504040204" pitchFamily="34" charset="0"/>
                        </a:rPr>
                        <a:t>Foundation Measures</a:t>
                      </a:r>
                      <a:endParaRPr lang="en-US" sz="1050">
                        <a:effectLst/>
                        <a:latin typeface="Tahoma" panose="020B0604030504040204" pitchFamily="34" charset="0"/>
                        <a:ea typeface="Tahoma" panose="020B0604030504040204" pitchFamily="34" charset="0"/>
                        <a:cs typeface="Tahoma" panose="020B0604030504040204" pitchFamily="34" charset="0"/>
                      </a:endParaRPr>
                    </a:p>
                  </a:txBody>
                  <a:tcPr marL="72000" marR="72000" marT="36000" marB="36000" anchor="ctr"/>
                </a:tc>
                <a:tc>
                  <a:txBody>
                    <a:bodyPr/>
                    <a:lstStyle/>
                    <a:p>
                      <a:pPr marL="0" algn="ctr" rtl="0" eaLnBrk="1" latinLnBrk="0" hangingPunct="1">
                        <a:spcBef>
                          <a:spcPts val="0"/>
                        </a:spcBef>
                        <a:spcAft>
                          <a:spcPts val="0"/>
                        </a:spcAft>
                      </a:pPr>
                      <a:r>
                        <a:rPr lang="en-US" sz="1050" kern="1200">
                          <a:solidFill>
                            <a:srgbClr val="FFFFFF"/>
                          </a:solidFill>
                          <a:effectLst/>
                          <a:latin typeface="Tahoma" panose="020B0604030504040204" pitchFamily="34" charset="0"/>
                          <a:ea typeface="Tahoma" panose="020B0604030504040204" pitchFamily="34" charset="0"/>
                          <a:cs typeface="Tahoma" panose="020B0604030504040204" pitchFamily="34" charset="0"/>
                        </a:rPr>
                        <a:t>Advanced Measures</a:t>
                      </a:r>
                      <a:endParaRPr lang="en-US" sz="1050">
                        <a:effectLst/>
                        <a:latin typeface="Tahoma" panose="020B0604030504040204" pitchFamily="34" charset="0"/>
                        <a:ea typeface="Tahoma" panose="020B0604030504040204" pitchFamily="34" charset="0"/>
                        <a:cs typeface="Tahoma" panose="020B0604030504040204" pitchFamily="34" charset="0"/>
                      </a:endParaRPr>
                    </a:p>
                  </a:txBody>
                  <a:tcPr marL="72000" marR="72000" marT="36000" marB="36000" anchor="ctr"/>
                </a:tc>
                <a:tc>
                  <a:txBody>
                    <a:bodyPr/>
                    <a:lstStyle/>
                    <a:p>
                      <a:pPr marL="0" algn="ctr" rtl="0" eaLnBrk="1" latinLnBrk="0" hangingPunct="1">
                        <a:spcBef>
                          <a:spcPts val="0"/>
                        </a:spcBef>
                        <a:spcAft>
                          <a:spcPts val="0"/>
                        </a:spcAft>
                      </a:pPr>
                      <a:r>
                        <a:rPr lang="en-US" sz="1050" kern="1200">
                          <a:solidFill>
                            <a:srgbClr val="FFFFFF"/>
                          </a:solidFill>
                          <a:effectLst/>
                          <a:latin typeface="Tahoma" panose="020B0604030504040204" pitchFamily="34" charset="0"/>
                          <a:ea typeface="Tahoma" panose="020B0604030504040204" pitchFamily="34" charset="0"/>
                          <a:cs typeface="Tahoma" panose="020B0604030504040204" pitchFamily="34" charset="0"/>
                        </a:rPr>
                        <a:t>Target Insights</a:t>
                      </a:r>
                      <a:endParaRPr lang="en-US" sz="1050">
                        <a:effectLst/>
                        <a:latin typeface="Tahoma" panose="020B0604030504040204" pitchFamily="34" charset="0"/>
                        <a:ea typeface="Tahoma" panose="020B0604030504040204" pitchFamily="34" charset="0"/>
                        <a:cs typeface="Tahoma" panose="020B0604030504040204" pitchFamily="34" charset="0"/>
                      </a:endParaRPr>
                    </a:p>
                  </a:txBody>
                  <a:tcPr marL="72000" marR="72000" marT="36000" marB="36000" anchor="ctr"/>
                </a:tc>
                <a:extLst>
                  <a:ext uri="{0D108BD9-81ED-4DB2-BD59-A6C34878D82A}">
                    <a16:rowId xmlns:a16="http://schemas.microsoft.com/office/drawing/2014/main" val="2471988871"/>
                  </a:ext>
                </a:extLst>
              </a:tr>
              <a:tr h="548640">
                <a:tc>
                  <a:txBody>
                    <a:bodyPr/>
                    <a:lstStyle/>
                    <a:p>
                      <a:pPr marL="0" algn="l" rtl="0" eaLnBrk="1" latinLnBrk="0" hangingPunct="1">
                        <a:spcBef>
                          <a:spcPts val="0"/>
                        </a:spcBef>
                        <a:spcAft>
                          <a:spcPts val="0"/>
                        </a:spcAft>
                      </a:pPr>
                      <a:r>
                        <a:rPr lang="en-US" sz="1000" b="1" kern="1200">
                          <a:solidFill>
                            <a:schemeClr val="tx1"/>
                          </a:solidFill>
                          <a:effectLst/>
                          <a:latin typeface="Tahoma" panose="020B0604030504040204" pitchFamily="34" charset="0"/>
                          <a:ea typeface="Tahoma" panose="020B0604030504040204" pitchFamily="34" charset="0"/>
                          <a:cs typeface="Tahoma" panose="020B0604030504040204" pitchFamily="34" charset="0"/>
                        </a:rPr>
                        <a:t>Reach &amp; Engagement</a:t>
                      </a:r>
                    </a:p>
                    <a:p>
                      <a:pPr marL="0" algn="l" rtl="0" eaLnBrk="1" latinLnBrk="0" hangingPunct="1">
                        <a:spcBef>
                          <a:spcPts val="0"/>
                        </a:spcBef>
                        <a:spcAft>
                          <a:spcPts val="0"/>
                        </a:spcAft>
                      </a:pPr>
                      <a:r>
                        <a:rPr lang="en-US" sz="1000" kern="1200">
                          <a:solidFill>
                            <a:schemeClr val="tx1"/>
                          </a:solidFill>
                          <a:effectLst/>
                          <a:latin typeface="Tahoma" panose="020B0604030504040204" pitchFamily="34" charset="0"/>
                          <a:ea typeface="Tahoma" panose="020B0604030504040204" pitchFamily="34" charset="0"/>
                          <a:cs typeface="Tahoma" panose="020B0604030504040204" pitchFamily="34" charset="0"/>
                        </a:rPr>
                        <a:t>Demographics, development reach &amp; engagement </a:t>
                      </a:r>
                      <a:endParaRPr lang="en-US" sz="1000">
                        <a:solidFill>
                          <a:schemeClr val="tx1"/>
                        </a:solidFill>
                        <a:effectLst/>
                        <a:latin typeface="Tahoma" panose="020B0604030504040204" pitchFamily="34" charset="0"/>
                        <a:ea typeface="Tahoma" panose="020B0604030504040204" pitchFamily="34" charset="0"/>
                        <a:cs typeface="Tahoma" panose="020B0604030504040204" pitchFamily="34" charset="0"/>
                      </a:endParaRPr>
                    </a:p>
                    <a:p>
                      <a:pPr marL="0" algn="l" rtl="0" eaLnBrk="1" latinLnBrk="0" hangingPunct="1">
                        <a:spcBef>
                          <a:spcPts val="0"/>
                        </a:spcBef>
                        <a:spcAft>
                          <a:spcPts val="0"/>
                        </a:spcAft>
                      </a:pPr>
                      <a:r>
                        <a:rPr lang="en-US" sz="1000" kern="1200">
                          <a:solidFill>
                            <a:schemeClr val="tx1"/>
                          </a:solidFill>
                          <a:effectLst/>
                          <a:latin typeface="Tahoma" panose="020B0604030504040204" pitchFamily="34" charset="0"/>
                          <a:ea typeface="Tahoma" panose="020B0604030504040204" pitchFamily="34" charset="0"/>
                          <a:cs typeface="Tahoma" panose="020B0604030504040204" pitchFamily="34" charset="0"/>
                        </a:rPr>
                        <a:t>- Objective data </a:t>
                      </a:r>
                      <a:endParaRPr lang="en-US" sz="1000">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72000" marR="72000" marT="108000" marB="108000">
                    <a:solidFill>
                      <a:srgbClr val="E2ECF2">
                        <a:alpha val="40000"/>
                      </a:srgbClr>
                    </a:solidFill>
                  </a:tcPr>
                </a:tc>
                <a:tc>
                  <a:txBody>
                    <a:bodyPr/>
                    <a:lstStyle/>
                    <a:p>
                      <a:pPr marL="182563" indent="-182563" algn="l" rtl="0" eaLnBrk="1" latinLnBrk="0" hangingPunct="1">
                        <a:spcBef>
                          <a:spcPts val="0"/>
                        </a:spcBef>
                        <a:spcAft>
                          <a:spcPts val="0"/>
                        </a:spcAft>
                        <a:buClrTx/>
                        <a:buSzPct val="100000"/>
                        <a:buFont typeface="Arial"/>
                        <a:buChar char="•"/>
                      </a:pPr>
                      <a:r>
                        <a:rPr lang="en-US" sz="1000" kern="1200">
                          <a:solidFill>
                            <a:schemeClr val="tx1"/>
                          </a:solidFill>
                          <a:effectLst/>
                          <a:latin typeface="Tahoma" panose="020B0604030504040204" pitchFamily="34" charset="0"/>
                          <a:ea typeface="Tahoma" panose="020B0604030504040204" pitchFamily="34" charset="0"/>
                          <a:cs typeface="Tahoma" panose="020B0604030504040204" pitchFamily="34" charset="0"/>
                        </a:rPr>
                        <a:t>Who is involved?</a:t>
                      </a:r>
                      <a:endParaRPr lang="en-US" sz="1000">
                        <a:solidFill>
                          <a:schemeClr val="tx1"/>
                        </a:solidFill>
                        <a:effectLst/>
                        <a:latin typeface="Tahoma" panose="020B0604030504040204" pitchFamily="34" charset="0"/>
                        <a:ea typeface="Tahoma" panose="020B0604030504040204" pitchFamily="34" charset="0"/>
                        <a:cs typeface="Tahoma" panose="020B0604030504040204" pitchFamily="34" charset="0"/>
                      </a:endParaRPr>
                    </a:p>
                    <a:p>
                      <a:pPr marL="182563" indent="-182563" algn="l" rtl="0" eaLnBrk="1" latinLnBrk="0" hangingPunct="1">
                        <a:spcBef>
                          <a:spcPts val="0"/>
                        </a:spcBef>
                        <a:spcAft>
                          <a:spcPts val="0"/>
                        </a:spcAft>
                        <a:buSzPct val="100000"/>
                        <a:buFont typeface="Arial"/>
                        <a:buChar char="•"/>
                      </a:pPr>
                      <a:r>
                        <a:rPr lang="en-US" sz="1000" kern="1200">
                          <a:solidFill>
                            <a:schemeClr val="tx1"/>
                          </a:solidFill>
                          <a:effectLst/>
                          <a:latin typeface="Tahoma" panose="020B0604030504040204" pitchFamily="34" charset="0"/>
                          <a:ea typeface="Tahoma" panose="020B0604030504040204" pitchFamily="34" charset="0"/>
                          <a:cs typeface="Tahoma" panose="020B0604030504040204" pitchFamily="34" charset="0"/>
                        </a:rPr>
                        <a:t>How representative of the overall target population is this?</a:t>
                      </a:r>
                      <a:endParaRPr lang="en-US" sz="1000">
                        <a:solidFill>
                          <a:schemeClr val="tx1"/>
                        </a:solidFill>
                        <a:effectLst/>
                        <a:latin typeface="Tahoma" panose="020B0604030504040204" pitchFamily="34" charset="0"/>
                        <a:ea typeface="Tahoma" panose="020B0604030504040204" pitchFamily="34" charset="0"/>
                        <a:cs typeface="Tahoma" panose="020B0604030504040204" pitchFamily="34" charset="0"/>
                      </a:endParaRPr>
                    </a:p>
                    <a:p>
                      <a:pPr marL="182563" indent="-182563" algn="l" rtl="0" eaLnBrk="1" latinLnBrk="0" hangingPunct="1">
                        <a:spcBef>
                          <a:spcPts val="0"/>
                        </a:spcBef>
                        <a:spcAft>
                          <a:spcPts val="0"/>
                        </a:spcAft>
                        <a:buSzPct val="100000"/>
                        <a:buFont typeface="Arial"/>
                        <a:buChar char="•"/>
                      </a:pPr>
                      <a:r>
                        <a:rPr lang="en-US" sz="1000" kern="1200">
                          <a:solidFill>
                            <a:schemeClr val="tx1"/>
                          </a:solidFill>
                          <a:effectLst/>
                          <a:latin typeface="Tahoma" panose="020B0604030504040204" pitchFamily="34" charset="0"/>
                          <a:ea typeface="Tahoma" panose="020B0604030504040204" pitchFamily="34" charset="0"/>
                          <a:cs typeface="Tahoma" panose="020B0604030504040204" pitchFamily="34" charset="0"/>
                        </a:rPr>
                        <a:t>What is the normal/ average level of commitment?</a:t>
                      </a:r>
                      <a:endParaRPr lang="en-US" sz="1000">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72000" marR="72000" marT="108000" marB="108000">
                    <a:solidFill>
                      <a:srgbClr val="E2ECF2">
                        <a:alpha val="40000"/>
                      </a:srgbClr>
                    </a:solidFill>
                  </a:tcPr>
                </a:tc>
                <a:tc>
                  <a:txBody>
                    <a:bodyPr/>
                    <a:lstStyle/>
                    <a:p>
                      <a:pPr marL="182563" indent="-182563" algn="l" defTabSz="914400" rtl="0" eaLnBrk="1" latinLnBrk="0" hangingPunct="1">
                        <a:spcBef>
                          <a:spcPts val="0"/>
                        </a:spcBef>
                        <a:spcAft>
                          <a:spcPts val="0"/>
                        </a:spcAft>
                        <a:buClrTx/>
                        <a:buSzPct val="100000"/>
                        <a:buFont typeface="Arial"/>
                        <a:buChar char="•"/>
                      </a:pPr>
                      <a:r>
                        <a:rPr lang="en-US" sz="1000" kern="1200">
                          <a:solidFill>
                            <a:schemeClr val="tx1"/>
                          </a:solidFill>
                          <a:effectLst/>
                          <a:latin typeface="Tahoma" panose="020B0604030504040204" pitchFamily="34" charset="0"/>
                          <a:ea typeface="Tahoma" panose="020B0604030504040204" pitchFamily="34" charset="0"/>
                          <a:cs typeface="Tahoma" panose="020B0604030504040204" pitchFamily="34" charset="0"/>
                        </a:rPr>
                        <a:t>Employee demographics</a:t>
                      </a:r>
                    </a:p>
                    <a:p>
                      <a:pPr marL="182563" indent="-182563" algn="l" defTabSz="914400" rtl="0" eaLnBrk="1" latinLnBrk="0" hangingPunct="1">
                        <a:spcBef>
                          <a:spcPts val="0"/>
                        </a:spcBef>
                        <a:spcAft>
                          <a:spcPts val="0"/>
                        </a:spcAft>
                        <a:buSzPct val="100000"/>
                        <a:buFont typeface="Arial"/>
                        <a:buChar char="•"/>
                      </a:pPr>
                      <a:r>
                        <a:rPr lang="en-US" sz="1000" kern="1200">
                          <a:solidFill>
                            <a:schemeClr val="tx1"/>
                          </a:solidFill>
                          <a:effectLst/>
                          <a:latin typeface="Tahoma" panose="020B0604030504040204" pitchFamily="34" charset="0"/>
                          <a:ea typeface="Tahoma" panose="020B0604030504040204" pitchFamily="34" charset="0"/>
                          <a:cs typeface="Tahoma" panose="020B0604030504040204" pitchFamily="34" charset="0"/>
                        </a:rPr>
                        <a:t>Learning/ training completion data</a:t>
                      </a:r>
                    </a:p>
                    <a:p>
                      <a:pPr marL="182563" indent="-182563" algn="l" defTabSz="914400" rtl="0" eaLnBrk="1" latinLnBrk="0" hangingPunct="1">
                        <a:spcBef>
                          <a:spcPts val="0"/>
                        </a:spcBef>
                        <a:spcAft>
                          <a:spcPts val="0"/>
                        </a:spcAft>
                        <a:buSzPct val="100000"/>
                        <a:buFont typeface="Arial"/>
                        <a:buChar char="•"/>
                      </a:pPr>
                      <a:r>
                        <a:rPr lang="en-US" sz="1000" kern="1200">
                          <a:solidFill>
                            <a:schemeClr val="tx1"/>
                          </a:solidFill>
                          <a:effectLst/>
                          <a:latin typeface="Tahoma" panose="020B0604030504040204" pitchFamily="34" charset="0"/>
                          <a:ea typeface="Tahoma" panose="020B0604030504040204" pitchFamily="34" charset="0"/>
                          <a:cs typeface="Tahoma" panose="020B0604030504040204" pitchFamily="34" charset="0"/>
                        </a:rPr>
                        <a:t>Participant demographics </a:t>
                      </a:r>
                    </a:p>
                  </a:txBody>
                  <a:tcPr marL="72000" marR="72000" marT="108000" marB="108000">
                    <a:solidFill>
                      <a:srgbClr val="E2ECF2">
                        <a:alpha val="40000"/>
                      </a:srgbClr>
                    </a:solidFill>
                  </a:tcPr>
                </a:tc>
                <a:tc>
                  <a:txBody>
                    <a:bodyPr/>
                    <a:lstStyle/>
                    <a:p>
                      <a:pPr marL="182563" indent="-182563" algn="l" defTabSz="914400" rtl="0" eaLnBrk="1" latinLnBrk="0" hangingPunct="1">
                        <a:spcBef>
                          <a:spcPts val="0"/>
                        </a:spcBef>
                        <a:spcAft>
                          <a:spcPts val="0"/>
                        </a:spcAft>
                        <a:buClrTx/>
                        <a:buSzPct val="100000"/>
                        <a:buFont typeface="Arial"/>
                        <a:buChar char="•"/>
                      </a:pPr>
                      <a:r>
                        <a:rPr lang="en-US" sz="1000" kern="1200">
                          <a:solidFill>
                            <a:schemeClr val="tx1"/>
                          </a:solidFill>
                          <a:effectLst/>
                          <a:latin typeface="Tahoma" panose="020B0604030504040204" pitchFamily="34" charset="0"/>
                          <a:ea typeface="Tahoma" panose="020B0604030504040204" pitchFamily="34" charset="0"/>
                          <a:cs typeface="Tahoma" panose="020B0604030504040204" pitchFamily="34" charset="0"/>
                        </a:rPr>
                        <a:t>Relative engagement or commitment vs historic norms</a:t>
                      </a:r>
                    </a:p>
                    <a:p>
                      <a:pPr marL="182563" indent="-182563" algn="l" defTabSz="914400" rtl="0" eaLnBrk="1" latinLnBrk="0" hangingPunct="1">
                        <a:spcBef>
                          <a:spcPts val="0"/>
                        </a:spcBef>
                        <a:spcAft>
                          <a:spcPts val="0"/>
                        </a:spcAft>
                        <a:buSzPct val="100000"/>
                        <a:buFont typeface="Arial"/>
                        <a:buChar char="•"/>
                      </a:pPr>
                      <a:r>
                        <a:rPr lang="en-US" sz="1000" kern="1200">
                          <a:solidFill>
                            <a:schemeClr val="tx1"/>
                          </a:solidFill>
                          <a:effectLst/>
                          <a:latin typeface="Tahoma" panose="020B0604030504040204" pitchFamily="34" charset="0"/>
                          <a:ea typeface="Tahoma" panose="020B0604030504040204" pitchFamily="34" charset="0"/>
                          <a:cs typeface="Tahoma" panose="020B0604030504040204" pitchFamily="34" charset="0"/>
                        </a:rPr>
                        <a:t>Indicators or patterns of commitment to development/ learning</a:t>
                      </a:r>
                    </a:p>
                  </a:txBody>
                  <a:tcPr marL="72000" marR="72000" marT="108000" marB="108000">
                    <a:solidFill>
                      <a:srgbClr val="E2ECF2">
                        <a:alpha val="40000"/>
                      </a:srgbClr>
                    </a:solidFill>
                  </a:tcPr>
                </a:tc>
                <a:tc>
                  <a:txBody>
                    <a:bodyPr/>
                    <a:lstStyle/>
                    <a:p>
                      <a:pPr marL="182563" indent="-182563" algn="l" defTabSz="914400" rtl="0" eaLnBrk="1" latinLnBrk="0" hangingPunct="1">
                        <a:spcBef>
                          <a:spcPts val="0"/>
                        </a:spcBef>
                        <a:spcAft>
                          <a:spcPts val="0"/>
                        </a:spcAft>
                        <a:buClrTx/>
                        <a:buSzPct val="100000"/>
                        <a:buFont typeface="Arial"/>
                        <a:buChar char="•"/>
                      </a:pPr>
                      <a:r>
                        <a:rPr lang="en-US" sz="1000" kern="1200">
                          <a:solidFill>
                            <a:schemeClr val="tx1"/>
                          </a:solidFill>
                          <a:effectLst/>
                          <a:latin typeface="Tahoma" panose="020B0604030504040204" pitchFamily="34" charset="0"/>
                          <a:ea typeface="Tahoma" panose="020B0604030504040204" pitchFamily="34" charset="0"/>
                          <a:cs typeface="Tahoma" panose="020B0604030504040204" pitchFamily="34" charset="0"/>
                        </a:rPr>
                        <a:t>Who’s been included in the training so far?</a:t>
                      </a:r>
                    </a:p>
                    <a:p>
                      <a:pPr marL="182563" indent="-182563" algn="l" defTabSz="914400" rtl="0" eaLnBrk="1" latinLnBrk="0" hangingPunct="1">
                        <a:spcBef>
                          <a:spcPts val="0"/>
                        </a:spcBef>
                        <a:spcAft>
                          <a:spcPts val="0"/>
                        </a:spcAft>
                        <a:buSzPct val="100000"/>
                        <a:buFont typeface="Arial"/>
                        <a:buChar char="•"/>
                      </a:pPr>
                      <a:r>
                        <a:rPr lang="en-US" sz="1000" kern="1200">
                          <a:solidFill>
                            <a:schemeClr val="tx1"/>
                          </a:solidFill>
                          <a:effectLst/>
                          <a:latin typeface="Tahoma" panose="020B0604030504040204" pitchFamily="34" charset="0"/>
                          <a:ea typeface="Tahoma" panose="020B0604030504040204" pitchFamily="34" charset="0"/>
                          <a:cs typeface="Tahoma" panose="020B0604030504040204" pitchFamily="34" charset="0"/>
                        </a:rPr>
                        <a:t>What level of commitment exists in this population?</a:t>
                      </a:r>
                    </a:p>
                    <a:p>
                      <a:pPr marL="182563" indent="-182563" algn="l" defTabSz="914400" rtl="0" eaLnBrk="1" latinLnBrk="0" hangingPunct="1">
                        <a:spcBef>
                          <a:spcPts val="0"/>
                        </a:spcBef>
                        <a:spcAft>
                          <a:spcPts val="0"/>
                        </a:spcAft>
                        <a:buSzPct val="100000"/>
                        <a:buFont typeface="Arial"/>
                        <a:buChar char="•"/>
                      </a:pPr>
                      <a:r>
                        <a:rPr lang="en-US" sz="1000" kern="1200">
                          <a:solidFill>
                            <a:schemeClr val="tx1"/>
                          </a:solidFill>
                          <a:effectLst/>
                          <a:latin typeface="Tahoma" panose="020B0604030504040204" pitchFamily="34" charset="0"/>
                          <a:ea typeface="Tahoma" panose="020B0604030504040204" pitchFamily="34" charset="0"/>
                          <a:cs typeface="Tahoma" panose="020B0604030504040204" pitchFamily="34" charset="0"/>
                        </a:rPr>
                        <a:t>Who is more / less engaged?</a:t>
                      </a:r>
                    </a:p>
                  </a:txBody>
                  <a:tcPr marL="72000" marR="72000" marT="108000" marB="108000">
                    <a:solidFill>
                      <a:srgbClr val="E2ECF2">
                        <a:alpha val="40000"/>
                      </a:srgbClr>
                    </a:solidFill>
                  </a:tcPr>
                </a:tc>
                <a:extLst>
                  <a:ext uri="{0D108BD9-81ED-4DB2-BD59-A6C34878D82A}">
                    <a16:rowId xmlns:a16="http://schemas.microsoft.com/office/drawing/2014/main" val="3979081029"/>
                  </a:ext>
                </a:extLst>
              </a:tr>
              <a:tr h="0">
                <a:tc>
                  <a:txBody>
                    <a:bodyPr/>
                    <a:lstStyle/>
                    <a:p>
                      <a:pPr marL="0" algn="l" rtl="0" eaLnBrk="1" latinLnBrk="0" hangingPunct="1">
                        <a:spcBef>
                          <a:spcPts val="0"/>
                        </a:spcBef>
                        <a:spcAft>
                          <a:spcPts val="0"/>
                        </a:spcAft>
                      </a:pPr>
                      <a:r>
                        <a:rPr lang="en-US" sz="1000" b="1" kern="1200">
                          <a:solidFill>
                            <a:schemeClr val="tx1"/>
                          </a:solidFill>
                          <a:effectLst/>
                          <a:latin typeface="Tahoma" panose="020B0604030504040204" pitchFamily="34" charset="0"/>
                          <a:ea typeface="Tahoma" panose="020B0604030504040204" pitchFamily="34" charset="0"/>
                          <a:cs typeface="Tahoma" panose="020B0604030504040204" pitchFamily="34" charset="0"/>
                        </a:rPr>
                        <a:t>Participant Sentiment </a:t>
                      </a:r>
                      <a:endParaRPr lang="en-US" sz="1000" b="1">
                        <a:solidFill>
                          <a:schemeClr val="tx1"/>
                        </a:solidFill>
                        <a:effectLst/>
                        <a:latin typeface="Tahoma" panose="020B0604030504040204" pitchFamily="34" charset="0"/>
                        <a:ea typeface="Tahoma" panose="020B0604030504040204" pitchFamily="34" charset="0"/>
                        <a:cs typeface="Tahoma" panose="020B0604030504040204" pitchFamily="34" charset="0"/>
                      </a:endParaRPr>
                    </a:p>
                    <a:p>
                      <a:pPr marL="173355" indent="-173355" algn="l" rtl="0" eaLnBrk="1" latinLnBrk="0" hangingPunct="1">
                        <a:spcBef>
                          <a:spcPts val="0"/>
                        </a:spcBef>
                        <a:spcAft>
                          <a:spcPts val="0"/>
                        </a:spcAft>
                      </a:pPr>
                      <a:r>
                        <a:rPr lang="en-US" sz="1000" kern="1200">
                          <a:solidFill>
                            <a:schemeClr val="tx1"/>
                          </a:solidFill>
                          <a:effectLst/>
                          <a:latin typeface="Tahoma" panose="020B0604030504040204" pitchFamily="34" charset="0"/>
                          <a:ea typeface="Tahoma" panose="020B0604030504040204" pitchFamily="34" charset="0"/>
                          <a:cs typeface="Tahoma" panose="020B0604030504040204" pitchFamily="34" charset="0"/>
                        </a:rPr>
                        <a:t>Experience </a:t>
                      </a:r>
                      <a:endParaRPr lang="en-US" sz="1000">
                        <a:solidFill>
                          <a:schemeClr val="tx1"/>
                        </a:solidFill>
                        <a:effectLst/>
                        <a:latin typeface="Tahoma" panose="020B0604030504040204" pitchFamily="34" charset="0"/>
                        <a:ea typeface="Tahoma" panose="020B0604030504040204" pitchFamily="34" charset="0"/>
                        <a:cs typeface="Tahoma" panose="020B0604030504040204" pitchFamily="34" charset="0"/>
                      </a:endParaRPr>
                    </a:p>
                    <a:p>
                      <a:pPr marL="173355" indent="-173355" algn="l" rtl="0" eaLnBrk="1" latinLnBrk="0" hangingPunct="1">
                        <a:spcBef>
                          <a:spcPts val="0"/>
                        </a:spcBef>
                        <a:spcAft>
                          <a:spcPts val="0"/>
                        </a:spcAft>
                      </a:pPr>
                      <a:r>
                        <a:rPr lang="en-US" sz="1000" kern="1200">
                          <a:solidFill>
                            <a:schemeClr val="tx1"/>
                          </a:solidFill>
                          <a:effectLst/>
                          <a:latin typeface="Tahoma" panose="020B0604030504040204" pitchFamily="34" charset="0"/>
                          <a:ea typeface="Tahoma" panose="020B0604030504040204" pitchFamily="34" charset="0"/>
                          <a:cs typeface="Tahoma" panose="020B0604030504040204" pitchFamily="34" charset="0"/>
                        </a:rPr>
                        <a:t>Subjective development</a:t>
                      </a:r>
                      <a:endParaRPr lang="en-US" sz="1000">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72000" marR="72000" marT="108000" marB="108000"/>
                </a:tc>
                <a:tc>
                  <a:txBody>
                    <a:bodyPr/>
                    <a:lstStyle/>
                    <a:p>
                      <a:pPr marL="182563" indent="-182563" algn="l" defTabSz="914400" rtl="0" eaLnBrk="1" latinLnBrk="0" hangingPunct="1">
                        <a:spcBef>
                          <a:spcPts val="0"/>
                        </a:spcBef>
                        <a:spcAft>
                          <a:spcPts val="0"/>
                        </a:spcAft>
                        <a:buClrTx/>
                        <a:buSzPct val="100000"/>
                        <a:buFont typeface="Arial"/>
                        <a:buChar char="•"/>
                      </a:pPr>
                      <a:r>
                        <a:rPr lang="en-US" sz="1000"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How aware of opportunity to improve my skills am I before the training starts?</a:t>
                      </a:r>
                    </a:p>
                  </a:txBody>
                  <a:tcPr marL="72000" marR="72000" marT="108000" marB="108000"/>
                </a:tc>
                <a:tc>
                  <a:txBody>
                    <a:bodyPr/>
                    <a:lstStyle/>
                    <a:p>
                      <a:pPr marL="182563" indent="-182563" algn="l" defTabSz="914400" rtl="0" eaLnBrk="1" latinLnBrk="0" hangingPunct="1">
                        <a:spcBef>
                          <a:spcPts val="0"/>
                        </a:spcBef>
                        <a:spcAft>
                          <a:spcPts val="0"/>
                        </a:spcAft>
                        <a:buClrTx/>
                        <a:buSzPct val="100000"/>
                        <a:buFont typeface="Arial"/>
                        <a:buChar char="•"/>
                      </a:pPr>
                      <a:r>
                        <a:rPr lang="en-US" sz="1000" kern="1200">
                          <a:solidFill>
                            <a:schemeClr val="tx1"/>
                          </a:solidFill>
                          <a:effectLst/>
                          <a:latin typeface="Tahoma" panose="020B0604030504040204" pitchFamily="34" charset="0"/>
                          <a:ea typeface="Tahoma" panose="020B0604030504040204" pitchFamily="34" charset="0"/>
                          <a:cs typeface="Tahoma" panose="020B0604030504040204" pitchFamily="34" charset="0"/>
                        </a:rPr>
                        <a:t>What do I think of the training that is supposed to help me?</a:t>
                      </a:r>
                    </a:p>
                    <a:p>
                      <a:pPr marL="182563" indent="-182563" algn="l" defTabSz="914400" rtl="0" eaLnBrk="1" latinLnBrk="0" hangingPunct="1">
                        <a:spcBef>
                          <a:spcPts val="0"/>
                        </a:spcBef>
                        <a:spcAft>
                          <a:spcPts val="0"/>
                        </a:spcAft>
                        <a:buSzPct val="100000"/>
                        <a:buFont typeface="Arial"/>
                        <a:buChar char="•"/>
                      </a:pPr>
                      <a:r>
                        <a:rPr lang="en-US" sz="1000" kern="1200">
                          <a:solidFill>
                            <a:schemeClr val="tx1"/>
                          </a:solidFill>
                          <a:effectLst/>
                          <a:latin typeface="Tahoma" panose="020B0604030504040204" pitchFamily="34" charset="0"/>
                          <a:ea typeface="Tahoma" panose="020B0604030504040204" pitchFamily="34" charset="0"/>
                          <a:cs typeface="Tahoma" panose="020B0604030504040204" pitchFamily="34" charset="0"/>
                        </a:rPr>
                        <a:t>Which parts work best?</a:t>
                      </a:r>
                    </a:p>
                    <a:p>
                      <a:pPr marL="182563" indent="-182563" algn="l" defTabSz="914400" rtl="0" eaLnBrk="1" latinLnBrk="0" hangingPunct="1">
                        <a:spcBef>
                          <a:spcPts val="0"/>
                        </a:spcBef>
                        <a:spcAft>
                          <a:spcPts val="0"/>
                        </a:spcAft>
                        <a:buSzPct val="100000"/>
                        <a:buFont typeface="Arial"/>
                        <a:buChar char="•"/>
                      </a:pPr>
                      <a:r>
                        <a:rPr lang="en-US" sz="1000" kern="1200">
                          <a:solidFill>
                            <a:schemeClr val="tx1"/>
                          </a:solidFill>
                          <a:effectLst/>
                          <a:latin typeface="Tahoma" panose="020B0604030504040204" pitchFamily="34" charset="0"/>
                          <a:ea typeface="Tahoma" panose="020B0604030504040204" pitchFamily="34" charset="0"/>
                          <a:cs typeface="Tahoma" panose="020B0604030504040204" pitchFamily="34" charset="0"/>
                        </a:rPr>
                        <a:t>Which parts don’t fit our need?</a:t>
                      </a:r>
                    </a:p>
                  </a:txBody>
                  <a:tcPr marL="72000" marR="72000" marT="108000" marB="108000"/>
                </a:tc>
                <a:tc>
                  <a:txBody>
                    <a:bodyPr/>
                    <a:lstStyle/>
                    <a:p>
                      <a:pPr marL="182563" indent="-182563" algn="l" defTabSz="914400" rtl="0" eaLnBrk="1" latinLnBrk="0" hangingPunct="1">
                        <a:spcBef>
                          <a:spcPts val="0"/>
                        </a:spcBef>
                        <a:spcAft>
                          <a:spcPts val="0"/>
                        </a:spcAft>
                        <a:buClrTx/>
                        <a:buSzPct val="100000"/>
                        <a:buFont typeface="Arial"/>
                        <a:buChar char="•"/>
                      </a:pPr>
                      <a:r>
                        <a:rPr lang="en-US" sz="1000" kern="1200">
                          <a:solidFill>
                            <a:schemeClr val="tx1"/>
                          </a:solidFill>
                          <a:effectLst/>
                          <a:latin typeface="Tahoma" panose="020B0604030504040204" pitchFamily="34" charset="0"/>
                          <a:ea typeface="Tahoma" panose="020B0604030504040204" pitchFamily="34" charset="0"/>
                          <a:cs typeface="Tahoma" panose="020B0604030504040204" pitchFamily="34" charset="0"/>
                        </a:rPr>
                        <a:t>What level of awareness of my opportunity to improve do I now have compared to before?</a:t>
                      </a:r>
                    </a:p>
                    <a:p>
                      <a:pPr marL="182563" indent="-182563" algn="l" defTabSz="914400" rtl="0" eaLnBrk="1" latinLnBrk="0" hangingPunct="1">
                        <a:spcBef>
                          <a:spcPts val="0"/>
                        </a:spcBef>
                        <a:spcAft>
                          <a:spcPts val="0"/>
                        </a:spcAft>
                        <a:buSzPct val="100000"/>
                        <a:buFont typeface="Arial"/>
                        <a:buChar char="•"/>
                      </a:pPr>
                      <a:r>
                        <a:rPr lang="en-US" sz="1000" kern="1200">
                          <a:solidFill>
                            <a:schemeClr val="tx1"/>
                          </a:solidFill>
                          <a:effectLst/>
                          <a:latin typeface="Tahoma" panose="020B0604030504040204" pitchFamily="34" charset="0"/>
                          <a:ea typeface="Tahoma" panose="020B0604030504040204" pitchFamily="34" charset="0"/>
                          <a:cs typeface="Tahoma" panose="020B0604030504040204" pitchFamily="34" charset="0"/>
                        </a:rPr>
                        <a:t>How do I feel about that?</a:t>
                      </a:r>
                    </a:p>
                  </a:txBody>
                  <a:tcPr marL="72000" marR="72000" marT="108000" marB="108000"/>
                </a:tc>
                <a:tc>
                  <a:txBody>
                    <a:bodyPr/>
                    <a:lstStyle/>
                    <a:p>
                      <a:pPr marL="182563" indent="-182563" algn="l" defTabSz="914400" rtl="0" eaLnBrk="1" latinLnBrk="0" hangingPunct="1">
                        <a:spcBef>
                          <a:spcPts val="0"/>
                        </a:spcBef>
                        <a:spcAft>
                          <a:spcPts val="0"/>
                        </a:spcAft>
                        <a:buClrTx/>
                        <a:buSzPct val="100000"/>
                        <a:buFont typeface="Arial"/>
                        <a:buChar char="•"/>
                      </a:pPr>
                      <a:r>
                        <a:rPr lang="en-GB" sz="1000" kern="1200">
                          <a:solidFill>
                            <a:schemeClr val="tx1"/>
                          </a:solidFill>
                          <a:effectLst/>
                          <a:latin typeface="Tahoma" panose="020B0604030504040204" pitchFamily="34" charset="0"/>
                          <a:ea typeface="Tahoma" panose="020B0604030504040204" pitchFamily="34" charset="0"/>
                          <a:cs typeface="Tahoma" panose="020B0604030504040204" pitchFamily="34" charset="0"/>
                        </a:rPr>
                        <a:t>How effectively is the product/ format working?</a:t>
                      </a:r>
                    </a:p>
                    <a:p>
                      <a:pPr marL="182563" indent="-182563" algn="l" defTabSz="914400" rtl="0" eaLnBrk="1" latinLnBrk="0" hangingPunct="1">
                        <a:spcBef>
                          <a:spcPts val="0"/>
                        </a:spcBef>
                        <a:spcAft>
                          <a:spcPts val="0"/>
                        </a:spcAft>
                        <a:buSzPct val="100000"/>
                        <a:buFont typeface="Arial"/>
                        <a:buChar char="•"/>
                      </a:pPr>
                      <a:r>
                        <a:rPr lang="en-GB" sz="1000" kern="1200">
                          <a:solidFill>
                            <a:schemeClr val="tx1"/>
                          </a:solidFill>
                          <a:effectLst/>
                          <a:latin typeface="Tahoma" panose="020B0604030504040204" pitchFamily="34" charset="0"/>
                          <a:ea typeface="Tahoma" panose="020B0604030504040204" pitchFamily="34" charset="0"/>
                          <a:cs typeface="Tahoma" panose="020B0604030504040204" pitchFamily="34" charset="0"/>
                        </a:rPr>
                        <a:t>How much might it influence my mindset / behaviour?</a:t>
                      </a:r>
                    </a:p>
                    <a:p>
                      <a:pPr marL="182563" indent="-182563" algn="l" defTabSz="914400" rtl="0" eaLnBrk="1" latinLnBrk="0" hangingPunct="1">
                        <a:spcBef>
                          <a:spcPts val="0"/>
                        </a:spcBef>
                        <a:spcAft>
                          <a:spcPts val="0"/>
                        </a:spcAft>
                        <a:buSzPct val="100000"/>
                        <a:buFont typeface="Arial"/>
                        <a:buChar char="•"/>
                      </a:pPr>
                      <a:r>
                        <a:rPr lang="en-GB" sz="1000" kern="1200">
                          <a:solidFill>
                            <a:schemeClr val="tx1"/>
                          </a:solidFill>
                          <a:effectLst/>
                          <a:latin typeface="Tahoma" panose="020B0604030504040204" pitchFamily="34" charset="0"/>
                          <a:ea typeface="Tahoma" panose="020B0604030504040204" pitchFamily="34" charset="0"/>
                          <a:cs typeface="Tahoma" panose="020B0604030504040204" pitchFamily="34" charset="0"/>
                        </a:rPr>
                        <a:t>What might explain my levels of engagement and/ or resistance?</a:t>
                      </a:r>
                    </a:p>
                  </a:txBody>
                  <a:tcPr marL="72000" marR="72000" marT="108000" marB="108000"/>
                </a:tc>
                <a:extLst>
                  <a:ext uri="{0D108BD9-81ED-4DB2-BD59-A6C34878D82A}">
                    <a16:rowId xmlns:a16="http://schemas.microsoft.com/office/drawing/2014/main" val="1460097101"/>
                  </a:ext>
                </a:extLst>
              </a:tr>
              <a:tr h="975360">
                <a:tc>
                  <a:txBody>
                    <a:bodyPr/>
                    <a:lstStyle/>
                    <a:p>
                      <a:pPr marL="0" lvl="0" algn="l">
                        <a:spcBef>
                          <a:spcPts val="0"/>
                        </a:spcBef>
                        <a:spcAft>
                          <a:spcPts val="0"/>
                        </a:spcAft>
                        <a:buNone/>
                      </a:pPr>
                      <a:r>
                        <a:rPr lang="en-US" sz="10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Ripple effects - </a:t>
                      </a:r>
                      <a:r>
                        <a:rPr lang="en-US" sz="1000" b="0" u="none" strike="noStrike" kern="1200" noProof="0" dirty="0" err="1">
                          <a:solidFill>
                            <a:schemeClr val="tx1"/>
                          </a:solidFill>
                          <a:effectLst/>
                          <a:latin typeface="Tahoma" panose="020B0604030504040204" pitchFamily="34" charset="0"/>
                          <a:ea typeface="Tahoma" panose="020B0604030504040204" pitchFamily="34" charset="0"/>
                          <a:cs typeface="Tahoma" panose="020B0604030504040204" pitchFamily="34" charset="0"/>
                        </a:rPr>
                        <a:t>Behavioural</a:t>
                      </a:r>
                      <a:r>
                        <a:rPr lang="en-US" sz="1000" b="0" u="none" strike="noStrike" kern="1200" noProof="0" dirty="0">
                          <a:solidFill>
                            <a:schemeClr val="tx1"/>
                          </a:solidFill>
                          <a:effectLst/>
                          <a:latin typeface="Tahoma" panose="020B0604030504040204" pitchFamily="34" charset="0"/>
                          <a:ea typeface="Tahoma" panose="020B0604030504040204" pitchFamily="34" charset="0"/>
                          <a:cs typeface="Tahoma" panose="020B0604030504040204" pitchFamily="34" charset="0"/>
                        </a:rPr>
                        <a:t> shifts and impacts</a:t>
                      </a:r>
                      <a:endParaRPr lang="en-US" sz="1000" dirty="0">
                        <a:latin typeface="Tahoma" panose="020B0604030504040204" pitchFamily="34" charset="0"/>
                        <a:ea typeface="Tahoma" panose="020B0604030504040204" pitchFamily="34" charset="0"/>
                        <a:cs typeface="Tahoma" panose="020B0604030504040204" pitchFamily="34" charset="0"/>
                      </a:endParaRPr>
                    </a:p>
                    <a:p>
                      <a:pPr marL="0" lvl="0" algn="l">
                        <a:spcBef>
                          <a:spcPts val="0"/>
                        </a:spcBef>
                        <a:spcAft>
                          <a:spcPts val="0"/>
                        </a:spcAft>
                        <a:buNone/>
                      </a:pPr>
                      <a:endParaRPr lang="en-US" sz="1000" b="0" u="none" strike="noStrike" kern="1200" noProof="0" dirty="0">
                        <a:solidFill>
                          <a:schemeClr val="tx1"/>
                        </a:solidFill>
                        <a:effectLst/>
                        <a:latin typeface="Tahoma" panose="020B0604030504040204" pitchFamily="34" charset="0"/>
                        <a:ea typeface="Tahoma" panose="020B0604030504040204" pitchFamily="34" charset="0"/>
                        <a:cs typeface="Tahoma" panose="020B0604030504040204" pitchFamily="34" charset="0"/>
                      </a:endParaRPr>
                    </a:p>
                    <a:p>
                      <a:pPr marL="0" lvl="0" algn="l">
                        <a:spcBef>
                          <a:spcPts val="0"/>
                        </a:spcBef>
                        <a:spcAft>
                          <a:spcPts val="0"/>
                        </a:spcAft>
                        <a:buNone/>
                      </a:pPr>
                      <a:r>
                        <a:rPr lang="en-US" sz="1000"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Skills and Mindset changes</a:t>
                      </a:r>
                    </a:p>
                    <a:p>
                      <a:pPr marL="0" lvl="0" algn="l">
                        <a:spcBef>
                          <a:spcPts val="0"/>
                        </a:spcBef>
                        <a:spcAft>
                          <a:spcPts val="0"/>
                        </a:spcAft>
                        <a:buNone/>
                      </a:pPr>
                      <a:endParaRPr lang="en-US" sz="1000" kern="1200" dirty="0">
                        <a:solidFill>
                          <a:schemeClr val="tx1"/>
                        </a:solidFill>
                        <a:effectLst/>
                        <a:latin typeface="Tahoma" panose="020B0604030504040204" pitchFamily="34" charset="0"/>
                        <a:ea typeface="Tahoma" panose="020B0604030504040204" pitchFamily="34" charset="0"/>
                        <a:cs typeface="Tahoma" panose="020B0604030504040204" pitchFamily="34" charset="0"/>
                      </a:endParaRPr>
                    </a:p>
                    <a:p>
                      <a:pPr marL="0" lvl="0" algn="l">
                        <a:spcBef>
                          <a:spcPts val="0"/>
                        </a:spcBef>
                        <a:spcAft>
                          <a:spcPts val="0"/>
                        </a:spcAft>
                        <a:buNone/>
                      </a:pPr>
                      <a:r>
                        <a:rPr lang="en-US" sz="1000"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Amplify Impact (peers)</a:t>
                      </a:r>
                      <a:endParaRPr lang="en-US" sz="1000" dirty="0">
                        <a:latin typeface="Tahoma" panose="020B0604030504040204" pitchFamily="34" charset="0"/>
                        <a:ea typeface="Tahoma" panose="020B0604030504040204" pitchFamily="34" charset="0"/>
                        <a:cs typeface="Tahoma" panose="020B0604030504040204" pitchFamily="34" charset="0"/>
                      </a:endParaRPr>
                    </a:p>
                  </a:txBody>
                  <a:tcPr marL="72000" marR="72000" marT="108000" marB="108000">
                    <a:solidFill>
                      <a:srgbClr val="E2ECF2">
                        <a:alpha val="40000"/>
                      </a:srgbClr>
                    </a:solidFill>
                  </a:tcPr>
                </a:tc>
                <a:tc>
                  <a:txBody>
                    <a:bodyPr/>
                    <a:lstStyle/>
                    <a:p>
                      <a:pPr marL="182563" indent="-182563" algn="l" defTabSz="914400" rtl="0" eaLnBrk="1" latinLnBrk="0" hangingPunct="1">
                        <a:spcBef>
                          <a:spcPts val="0"/>
                        </a:spcBef>
                        <a:spcAft>
                          <a:spcPts val="0"/>
                        </a:spcAft>
                        <a:buClrTx/>
                        <a:buSzPct val="100000"/>
                        <a:buFont typeface="Arial"/>
                        <a:buChar char="•"/>
                      </a:pPr>
                      <a:r>
                        <a:rPr lang="en-US" sz="1000"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Operational data relevant to the skills being trained – e.g., productivity, revisions, Manager time etc.</a:t>
                      </a:r>
                    </a:p>
                  </a:txBody>
                  <a:tcPr marL="72000" marR="72000" marT="108000" marB="108000">
                    <a:solidFill>
                      <a:srgbClr val="E2ECF2">
                        <a:alpha val="40000"/>
                      </a:srgbClr>
                    </a:solidFill>
                  </a:tcPr>
                </a:tc>
                <a:tc>
                  <a:txBody>
                    <a:bodyPr/>
                    <a:lstStyle/>
                    <a:p>
                      <a:pPr marL="182563" indent="-182563" algn="l" defTabSz="914400" rtl="0" eaLnBrk="1" latinLnBrk="0" hangingPunct="1">
                        <a:spcBef>
                          <a:spcPts val="0"/>
                        </a:spcBef>
                        <a:spcAft>
                          <a:spcPts val="0"/>
                        </a:spcAft>
                        <a:buClrTx/>
                        <a:buSzPct val="100000"/>
                        <a:buFont typeface="Arial"/>
                        <a:buChar char="•"/>
                      </a:pPr>
                      <a:r>
                        <a:rPr lang="en-US" sz="1000" kern="1200">
                          <a:solidFill>
                            <a:schemeClr val="tx1"/>
                          </a:solidFill>
                          <a:effectLst/>
                          <a:latin typeface="Tahoma" panose="020B0604030504040204" pitchFamily="34" charset="0"/>
                          <a:ea typeface="Tahoma" panose="020B0604030504040204" pitchFamily="34" charset="0"/>
                          <a:cs typeface="Tahoma" panose="020B0604030504040204" pitchFamily="34" charset="0"/>
                        </a:rPr>
                        <a:t>How much is the training helping me?</a:t>
                      </a:r>
                    </a:p>
                    <a:p>
                      <a:pPr marL="182563" indent="-182563" algn="l" defTabSz="914400" rtl="0" eaLnBrk="1" latinLnBrk="0" hangingPunct="1">
                        <a:spcBef>
                          <a:spcPts val="0"/>
                        </a:spcBef>
                        <a:spcAft>
                          <a:spcPts val="0"/>
                        </a:spcAft>
                        <a:buSzPct val="100000"/>
                        <a:buFont typeface="Arial"/>
                        <a:buChar char="•"/>
                      </a:pPr>
                      <a:r>
                        <a:rPr lang="en-US" sz="1000" kern="1200">
                          <a:solidFill>
                            <a:schemeClr val="tx1"/>
                          </a:solidFill>
                          <a:effectLst/>
                          <a:latin typeface="Tahoma" panose="020B0604030504040204" pitchFamily="34" charset="0"/>
                          <a:ea typeface="Tahoma" panose="020B0604030504040204" pitchFamily="34" charset="0"/>
                          <a:cs typeface="Tahoma" panose="020B0604030504040204" pitchFamily="34" charset="0"/>
                        </a:rPr>
                        <a:t>How much am I now prepared to start using the toolkits?</a:t>
                      </a:r>
                    </a:p>
                  </a:txBody>
                  <a:tcPr marL="72000" marR="72000" marT="108000" marB="108000">
                    <a:solidFill>
                      <a:srgbClr val="E2ECF2">
                        <a:alpha val="40000"/>
                      </a:srgbClr>
                    </a:solidFill>
                  </a:tcPr>
                </a:tc>
                <a:tc>
                  <a:txBody>
                    <a:bodyPr/>
                    <a:lstStyle/>
                    <a:p>
                      <a:pPr marL="182563" marR="0" indent="-182563" algn="l" defTabSz="914400" rtl="0" eaLnBrk="1" fontAlgn="auto" latinLnBrk="0" hangingPunct="1">
                        <a:spcBef>
                          <a:spcPts val="0"/>
                        </a:spcBef>
                        <a:spcAft>
                          <a:spcPts val="0"/>
                        </a:spcAft>
                        <a:buClrTx/>
                        <a:buSzPct val="100000"/>
                        <a:buFont typeface="Arial"/>
                        <a:buChar char="•"/>
                      </a:pPr>
                      <a:r>
                        <a:rPr lang="en-US" sz="1000"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How much fear of change do I feel? Is that changing over time?</a:t>
                      </a:r>
                    </a:p>
                    <a:p>
                      <a:pPr marL="182563" marR="0" indent="-182563" algn="l" defTabSz="914400" rtl="0" eaLnBrk="1" fontAlgn="auto" latinLnBrk="0" hangingPunct="1">
                        <a:spcBef>
                          <a:spcPts val="0"/>
                        </a:spcBef>
                        <a:spcAft>
                          <a:spcPts val="0"/>
                        </a:spcAft>
                        <a:buSzPct val="100000"/>
                        <a:buFont typeface="Arial"/>
                        <a:buChar char="•"/>
                      </a:pPr>
                      <a:r>
                        <a:rPr lang="en-US" sz="1000"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What is ‘getting in the way’ of my release of fear – and what can I do about this?</a:t>
                      </a:r>
                    </a:p>
                    <a:p>
                      <a:pPr marL="182563" marR="0" indent="-182563" algn="l" defTabSz="914400" rtl="0" eaLnBrk="1" fontAlgn="auto" latinLnBrk="0" hangingPunct="1">
                        <a:spcBef>
                          <a:spcPts val="0"/>
                        </a:spcBef>
                        <a:spcAft>
                          <a:spcPts val="0"/>
                        </a:spcAft>
                        <a:buSzPct val="100000"/>
                        <a:buFont typeface="Arial"/>
                        <a:buChar char="•"/>
                      </a:pPr>
                      <a:r>
                        <a:rPr lang="en-US" sz="1000"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How am I encouraging others to do the same?</a:t>
                      </a:r>
                    </a:p>
                  </a:txBody>
                  <a:tcPr marL="72000" marR="72000" marT="108000" marB="108000">
                    <a:solidFill>
                      <a:srgbClr val="E2ECF2">
                        <a:alpha val="40000"/>
                      </a:srgbClr>
                    </a:solidFill>
                  </a:tcPr>
                </a:tc>
                <a:tc>
                  <a:txBody>
                    <a:bodyPr/>
                    <a:lstStyle/>
                    <a:p>
                      <a:pPr marL="182563" indent="-182563" algn="l" defTabSz="914400" rtl="0" eaLnBrk="1" latinLnBrk="0" hangingPunct="1">
                        <a:spcBef>
                          <a:spcPts val="0"/>
                        </a:spcBef>
                        <a:spcAft>
                          <a:spcPts val="0"/>
                        </a:spcAft>
                        <a:buClrTx/>
                        <a:buSzPct val="100000"/>
                        <a:buFont typeface="Arial"/>
                        <a:buChar char="•"/>
                      </a:pPr>
                      <a:r>
                        <a:rPr lang="en-US" sz="1000" kern="1200">
                          <a:solidFill>
                            <a:schemeClr val="tx1"/>
                          </a:solidFill>
                          <a:effectLst/>
                          <a:latin typeface="Tahoma" panose="020B0604030504040204" pitchFamily="34" charset="0"/>
                          <a:ea typeface="Tahoma" panose="020B0604030504040204" pitchFamily="34" charset="0"/>
                          <a:cs typeface="Tahoma" panose="020B0604030504040204" pitchFamily="34" charset="0"/>
                        </a:rPr>
                        <a:t>Is my attitude changing?</a:t>
                      </a:r>
                    </a:p>
                    <a:p>
                      <a:pPr marL="182563" indent="-182563" algn="l" defTabSz="914400" rtl="0" eaLnBrk="1" latinLnBrk="0" hangingPunct="1">
                        <a:spcBef>
                          <a:spcPts val="0"/>
                        </a:spcBef>
                        <a:spcAft>
                          <a:spcPts val="0"/>
                        </a:spcAft>
                        <a:buSzPct val="100000"/>
                        <a:buFont typeface="Arial"/>
                        <a:buChar char="•"/>
                      </a:pPr>
                      <a:r>
                        <a:rPr lang="en-US" sz="1000" kern="1200">
                          <a:solidFill>
                            <a:schemeClr val="tx1"/>
                          </a:solidFill>
                          <a:effectLst/>
                          <a:latin typeface="Tahoma" panose="020B0604030504040204" pitchFamily="34" charset="0"/>
                          <a:ea typeface="Tahoma" panose="020B0604030504040204" pitchFamily="34" charset="0"/>
                          <a:cs typeface="Tahoma" panose="020B0604030504040204" pitchFamily="34" charset="0"/>
                        </a:rPr>
                        <a:t>Are self-perceptions translating into different behaviour?</a:t>
                      </a:r>
                    </a:p>
                    <a:p>
                      <a:pPr marL="182563" indent="-182563" algn="l" defTabSz="914400" rtl="0" eaLnBrk="1" latinLnBrk="0" hangingPunct="1">
                        <a:spcBef>
                          <a:spcPts val="0"/>
                        </a:spcBef>
                        <a:spcAft>
                          <a:spcPts val="0"/>
                        </a:spcAft>
                        <a:buSzPct val="100000"/>
                        <a:buFont typeface="Arial"/>
                        <a:buChar char="•"/>
                      </a:pPr>
                      <a:r>
                        <a:rPr lang="en-US" sz="1000" kern="1200">
                          <a:solidFill>
                            <a:schemeClr val="tx1"/>
                          </a:solidFill>
                          <a:effectLst/>
                          <a:latin typeface="Tahoma" panose="020B0604030504040204" pitchFamily="34" charset="0"/>
                          <a:ea typeface="Tahoma" panose="020B0604030504040204" pitchFamily="34" charset="0"/>
                          <a:cs typeface="Tahoma" panose="020B0604030504040204" pitchFamily="34" charset="0"/>
                        </a:rPr>
                        <a:t>What am I actually doing? (i.e., using the tool kit or not)</a:t>
                      </a:r>
                    </a:p>
                    <a:p>
                      <a:pPr marL="182563" indent="-182563" algn="l" defTabSz="914400" rtl="0" eaLnBrk="1" latinLnBrk="0" hangingPunct="1">
                        <a:spcBef>
                          <a:spcPts val="0"/>
                        </a:spcBef>
                        <a:spcAft>
                          <a:spcPts val="0"/>
                        </a:spcAft>
                        <a:buSzPct val="100000"/>
                        <a:buFont typeface="Arial"/>
                        <a:buChar char="•"/>
                      </a:pPr>
                      <a:r>
                        <a:rPr lang="en-US" sz="1000" kern="1200">
                          <a:solidFill>
                            <a:schemeClr val="tx1"/>
                          </a:solidFill>
                          <a:effectLst/>
                          <a:latin typeface="Tahoma" panose="020B0604030504040204" pitchFamily="34" charset="0"/>
                          <a:ea typeface="Tahoma" panose="020B0604030504040204" pitchFamily="34" charset="0"/>
                          <a:cs typeface="Tahoma" panose="020B0604030504040204" pitchFamily="34" charset="0"/>
                        </a:rPr>
                        <a:t>How is this starting to influence others around me?</a:t>
                      </a:r>
                    </a:p>
                  </a:txBody>
                  <a:tcPr marL="72000" marR="72000" marT="108000" marB="108000">
                    <a:solidFill>
                      <a:srgbClr val="E2ECF2">
                        <a:alpha val="40000"/>
                      </a:srgbClr>
                    </a:solidFill>
                  </a:tcPr>
                </a:tc>
                <a:extLst>
                  <a:ext uri="{0D108BD9-81ED-4DB2-BD59-A6C34878D82A}">
                    <a16:rowId xmlns:a16="http://schemas.microsoft.com/office/drawing/2014/main" val="4122525091"/>
                  </a:ext>
                </a:extLst>
              </a:tr>
              <a:tr h="975360">
                <a:tc>
                  <a:txBody>
                    <a:bodyPr/>
                    <a:lstStyle/>
                    <a:p>
                      <a:pPr marL="0" indent="0" algn="l" rtl="0" eaLnBrk="1" latinLnBrk="0" hangingPunct="1">
                        <a:spcBef>
                          <a:spcPts val="0"/>
                        </a:spcBef>
                        <a:spcAft>
                          <a:spcPts val="0"/>
                        </a:spcAft>
                      </a:pPr>
                      <a:r>
                        <a:rPr lang="en-US" sz="10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Ripple effects</a:t>
                      </a:r>
                      <a:r>
                        <a:rPr lang="en-US" sz="1000"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 - Operational and Commercial impacts</a:t>
                      </a:r>
                    </a:p>
                    <a:p>
                      <a:pPr marL="0" lvl="0" indent="0" algn="l">
                        <a:spcBef>
                          <a:spcPts val="0"/>
                        </a:spcBef>
                        <a:spcAft>
                          <a:spcPts val="0"/>
                        </a:spcAft>
                        <a:buNone/>
                      </a:pPr>
                      <a:endParaRPr lang="en-US" sz="1000" kern="1200" dirty="0">
                        <a:solidFill>
                          <a:schemeClr val="tx1"/>
                        </a:solidFill>
                        <a:effectLst/>
                        <a:latin typeface="Tahoma" panose="020B0604030504040204" pitchFamily="34" charset="0"/>
                        <a:ea typeface="Tahoma" panose="020B0604030504040204" pitchFamily="34" charset="0"/>
                        <a:cs typeface="Tahoma" panose="020B0604030504040204" pitchFamily="34" charset="0"/>
                      </a:endParaRPr>
                    </a:p>
                    <a:p>
                      <a:pPr marL="0" lvl="0" indent="0" algn="l">
                        <a:spcBef>
                          <a:spcPts val="0"/>
                        </a:spcBef>
                        <a:spcAft>
                          <a:spcPts val="0"/>
                        </a:spcAft>
                        <a:buNone/>
                      </a:pPr>
                      <a:r>
                        <a:rPr lang="en-US" sz="1000"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Shifting Culture</a:t>
                      </a:r>
                    </a:p>
                    <a:p>
                      <a:pPr marL="0" lvl="0" indent="0" algn="l">
                        <a:spcBef>
                          <a:spcPts val="0"/>
                        </a:spcBef>
                        <a:spcAft>
                          <a:spcPts val="0"/>
                        </a:spcAft>
                        <a:buNone/>
                      </a:pPr>
                      <a:r>
                        <a:rPr lang="en-US" sz="1000"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Team Trust</a:t>
                      </a:r>
                    </a:p>
                    <a:p>
                      <a:pPr marL="0" lvl="0" indent="0" algn="l">
                        <a:spcBef>
                          <a:spcPts val="0"/>
                        </a:spcBef>
                        <a:spcAft>
                          <a:spcPts val="0"/>
                        </a:spcAft>
                        <a:buNone/>
                      </a:pPr>
                      <a:r>
                        <a:rPr lang="en-US" sz="1000"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Client Advocacy</a:t>
                      </a:r>
                    </a:p>
                  </a:txBody>
                  <a:tcPr marL="72000" marR="72000" marT="108000" marB="108000"/>
                </a:tc>
                <a:tc>
                  <a:txBody>
                    <a:bodyPr/>
                    <a:lstStyle/>
                    <a:p>
                      <a:pPr marL="182563" indent="-182563" algn="l" defTabSz="914400" rtl="0" eaLnBrk="1" latinLnBrk="0" hangingPunct="1">
                        <a:spcBef>
                          <a:spcPts val="0"/>
                        </a:spcBef>
                        <a:spcAft>
                          <a:spcPts val="0"/>
                        </a:spcAft>
                        <a:buClrTx/>
                        <a:buSzPct val="100000"/>
                        <a:buFont typeface="Arial"/>
                        <a:buChar char="•"/>
                      </a:pPr>
                      <a:r>
                        <a:rPr lang="en-GB" sz="1000"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Historic trends (pre-training) on core staff metrics</a:t>
                      </a:r>
                    </a:p>
                    <a:p>
                      <a:pPr marL="182563" lvl="0" indent="-182563" algn="l" defTabSz="914400" rtl="0" eaLnBrk="1" latinLnBrk="0" hangingPunct="1">
                        <a:spcBef>
                          <a:spcPts val="0"/>
                        </a:spcBef>
                        <a:spcAft>
                          <a:spcPts val="0"/>
                        </a:spcAft>
                        <a:buClrTx/>
                        <a:buSzPct val="100000"/>
                        <a:buFont typeface="Arial"/>
                        <a:buChar char="•"/>
                      </a:pPr>
                      <a:r>
                        <a:rPr lang="en-GB" sz="1000"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Historic trends on selected client metrics</a:t>
                      </a:r>
                    </a:p>
                    <a:p>
                      <a:pPr marL="182563" lvl="0" indent="-182563" algn="l" defTabSz="914400" rtl="0" eaLnBrk="1" latinLnBrk="0" hangingPunct="1">
                        <a:spcBef>
                          <a:spcPts val="0"/>
                        </a:spcBef>
                        <a:spcAft>
                          <a:spcPts val="0"/>
                        </a:spcAft>
                        <a:buClrTx/>
                        <a:buSzPct val="100000"/>
                        <a:buFont typeface="Arial"/>
                        <a:buChar char="•"/>
                      </a:pPr>
                      <a:r>
                        <a:rPr lang="en-GB" sz="1000"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Historic trends on use of the relevant tool-kit</a:t>
                      </a:r>
                    </a:p>
                  </a:txBody>
                  <a:tcPr marL="72000" marR="72000" marT="108000" marB="108000"/>
                </a:tc>
                <a:tc>
                  <a:txBody>
                    <a:bodyPr/>
                    <a:lstStyle/>
                    <a:p>
                      <a:pPr marL="182563" indent="-182563" algn="l" defTabSz="914400" rtl="0" eaLnBrk="1" latinLnBrk="0" hangingPunct="1">
                        <a:spcBef>
                          <a:spcPts val="0"/>
                        </a:spcBef>
                        <a:spcAft>
                          <a:spcPts val="0"/>
                        </a:spcAft>
                        <a:buClrTx/>
                        <a:buSzPct val="100000"/>
                        <a:buFont typeface="Arial"/>
                        <a:buChar char="•"/>
                      </a:pPr>
                      <a:r>
                        <a:rPr lang="en-US" sz="1000"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Staff metrics (e.g., attrition, onboarding time to effectiveness, upward feedback etc.)</a:t>
                      </a:r>
                    </a:p>
                    <a:p>
                      <a:pPr marL="182563" indent="-182563" algn="l" defTabSz="914400" rtl="0" eaLnBrk="1" latinLnBrk="0" hangingPunct="1">
                        <a:spcBef>
                          <a:spcPts val="0"/>
                        </a:spcBef>
                        <a:spcAft>
                          <a:spcPts val="0"/>
                        </a:spcAft>
                        <a:buSzPct val="100000"/>
                        <a:buFont typeface="Arial"/>
                        <a:buChar char="•"/>
                      </a:pPr>
                      <a:r>
                        <a:rPr lang="en-US" sz="1000"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Use of the tool kit</a:t>
                      </a:r>
                    </a:p>
                    <a:p>
                      <a:pPr marL="182563" marR="0" indent="-182563" algn="l" defTabSz="914400" rtl="0" eaLnBrk="1" fontAlgn="auto" latinLnBrk="0" hangingPunct="1">
                        <a:spcBef>
                          <a:spcPts val="0"/>
                        </a:spcBef>
                        <a:spcAft>
                          <a:spcPts val="0"/>
                        </a:spcAft>
                        <a:buSzPct val="100000"/>
                        <a:buFont typeface="Arial"/>
                        <a:buChar char="•"/>
                      </a:pPr>
                      <a:r>
                        <a:rPr lang="en-US" sz="1000"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Relevant activity</a:t>
                      </a:r>
                    </a:p>
                    <a:p>
                      <a:pPr marL="182563" indent="-182563" algn="l" defTabSz="914400" rtl="0" eaLnBrk="1" latinLnBrk="0" hangingPunct="1">
                        <a:spcBef>
                          <a:spcPts val="0"/>
                        </a:spcBef>
                        <a:spcAft>
                          <a:spcPts val="0"/>
                        </a:spcAft>
                        <a:buSzPct val="100000"/>
                        <a:buFont typeface="Arial"/>
                        <a:buChar char="•"/>
                      </a:pPr>
                      <a:r>
                        <a:rPr lang="en-US" sz="1000"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Activity success measures</a:t>
                      </a:r>
                    </a:p>
                  </a:txBody>
                  <a:tcPr marL="72000" marR="72000" marT="108000" marB="108000"/>
                </a:tc>
                <a:tc>
                  <a:txBody>
                    <a:bodyPr/>
                    <a:lstStyle/>
                    <a:p>
                      <a:pPr marL="182563" indent="-182563" algn="l" defTabSz="914400" rtl="0" eaLnBrk="1" latinLnBrk="0" hangingPunct="1">
                        <a:spcBef>
                          <a:spcPts val="0"/>
                        </a:spcBef>
                        <a:spcAft>
                          <a:spcPts val="0"/>
                        </a:spcAft>
                        <a:buClrTx/>
                        <a:buSzPct val="100000"/>
                        <a:buFont typeface="Arial"/>
                        <a:buChar char="•"/>
                      </a:pPr>
                      <a:r>
                        <a:rPr lang="en-US" sz="1000"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What is the speed to quantifiable commercial outcome changes?</a:t>
                      </a:r>
                    </a:p>
                    <a:p>
                      <a:pPr marL="182563" indent="-182563" algn="l" defTabSz="914400" rtl="0" eaLnBrk="1" latinLnBrk="0" hangingPunct="1">
                        <a:spcBef>
                          <a:spcPts val="0"/>
                        </a:spcBef>
                        <a:spcAft>
                          <a:spcPts val="0"/>
                        </a:spcAft>
                        <a:buSzPct val="100000"/>
                        <a:buFont typeface="Arial"/>
                        <a:buChar char="•"/>
                      </a:pPr>
                      <a:r>
                        <a:rPr lang="en-US" sz="1000"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What is the size of commercial outcome changes?</a:t>
                      </a:r>
                    </a:p>
                    <a:p>
                      <a:pPr marL="182563" indent="-182563" algn="l" defTabSz="914400" rtl="0" eaLnBrk="1" latinLnBrk="0" hangingPunct="1">
                        <a:spcBef>
                          <a:spcPts val="0"/>
                        </a:spcBef>
                        <a:spcAft>
                          <a:spcPts val="0"/>
                        </a:spcAft>
                        <a:buSzPct val="100000"/>
                        <a:buFont typeface="Arial"/>
                        <a:buChar char="•"/>
                      </a:pPr>
                      <a:r>
                        <a:rPr lang="en-US" sz="1000"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Can we begin to predict leading and lagging indicators in a more scientific and robust way?</a:t>
                      </a:r>
                    </a:p>
                  </a:txBody>
                  <a:tcPr marL="72000" marR="72000" marT="108000" marB="108000"/>
                </a:tc>
                <a:tc>
                  <a:txBody>
                    <a:bodyPr/>
                    <a:lstStyle/>
                    <a:p>
                      <a:pPr marL="182563" indent="-182563" algn="l" defTabSz="914400" rtl="0" eaLnBrk="1" latinLnBrk="0" hangingPunct="1">
                        <a:spcBef>
                          <a:spcPts val="0"/>
                        </a:spcBef>
                        <a:spcAft>
                          <a:spcPts val="0"/>
                        </a:spcAft>
                        <a:buClrTx/>
                        <a:buSzPct val="100000"/>
                        <a:buFont typeface="Arial"/>
                        <a:buChar char="•"/>
                      </a:pPr>
                      <a:r>
                        <a:rPr lang="en-US" sz="1000"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Whether shifts in mindset/ behaviour are starting to influence or are linked in some way to positive operational and commercial outcomes?</a:t>
                      </a:r>
                    </a:p>
                    <a:p>
                      <a:pPr marL="182563" indent="-182563" algn="l" defTabSz="914400" rtl="0" eaLnBrk="1" latinLnBrk="0" hangingPunct="1">
                        <a:spcBef>
                          <a:spcPts val="0"/>
                        </a:spcBef>
                        <a:spcAft>
                          <a:spcPts val="0"/>
                        </a:spcAft>
                        <a:buSzPct val="100000"/>
                        <a:buFont typeface="Arial"/>
                        <a:buChar char="•"/>
                      </a:pPr>
                      <a:r>
                        <a:rPr lang="en-US" sz="1000"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Which areas still require support and where can the learners learn from each other?</a:t>
                      </a:r>
                    </a:p>
                  </a:txBody>
                  <a:tcPr marL="72000" marR="72000" marT="108000" marB="108000"/>
                </a:tc>
                <a:extLst>
                  <a:ext uri="{0D108BD9-81ED-4DB2-BD59-A6C34878D82A}">
                    <a16:rowId xmlns:a16="http://schemas.microsoft.com/office/drawing/2014/main" val="3681985103"/>
                  </a:ext>
                </a:extLst>
              </a:tr>
            </a:tbl>
          </a:graphicData>
        </a:graphic>
      </p:graphicFrame>
      <p:sp>
        <p:nvSpPr>
          <p:cNvPr id="2" name="Right Triangle 1">
            <a:extLst>
              <a:ext uri="{FF2B5EF4-FFF2-40B4-BE49-F238E27FC236}">
                <a16:creationId xmlns:a16="http://schemas.microsoft.com/office/drawing/2014/main" id="{803C54B4-A446-18AF-72DF-17163A3BD1B3}"/>
              </a:ext>
            </a:extLst>
          </p:cNvPr>
          <p:cNvSpPr/>
          <p:nvPr/>
        </p:nvSpPr>
        <p:spPr>
          <a:xfrm rot="16200000">
            <a:off x="6209856" y="1303212"/>
            <a:ext cx="365760" cy="10559099"/>
          </a:xfrm>
          <a:prstGeom prst="rtTriangle">
            <a:avLst/>
          </a:prstGeom>
          <a:gradFill flip="none" rotWithShape="0">
            <a:gsLst>
              <a:gs pos="0">
                <a:schemeClr val="tx1"/>
              </a:gs>
              <a:gs pos="50000">
                <a:schemeClr val="accent4"/>
              </a:gs>
              <a:gs pos="100000">
                <a:schemeClr val="tx1">
                  <a:lumMod val="10000"/>
                  <a:lumOff val="90000"/>
                </a:schemeClr>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i="1"/>
          </a:p>
        </p:txBody>
      </p:sp>
      <p:sp>
        <p:nvSpPr>
          <p:cNvPr id="3" name="TextBox 2">
            <a:extLst>
              <a:ext uri="{FF2B5EF4-FFF2-40B4-BE49-F238E27FC236}">
                <a16:creationId xmlns:a16="http://schemas.microsoft.com/office/drawing/2014/main" id="{D236E43E-DE8B-73C1-1313-714415D466BB}"/>
              </a:ext>
            </a:extLst>
          </p:cNvPr>
          <p:cNvSpPr txBox="1"/>
          <p:nvPr/>
        </p:nvSpPr>
        <p:spPr>
          <a:xfrm>
            <a:off x="6986341" y="6527972"/>
            <a:ext cx="4647198" cy="261610"/>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i="1">
                <a:solidFill>
                  <a:schemeClr val="bg1"/>
                </a:solidFill>
                <a:latin typeface="Tahoma" panose="020B0604030504040204" pitchFamily="34" charset="0"/>
                <a:ea typeface="Tahoma" panose="020B0604030504040204" pitchFamily="34" charset="0"/>
                <a:cs typeface="Tahoma" panose="020B0604030504040204" pitchFamily="34" charset="0"/>
              </a:rPr>
              <a:t>Depth and value of insight grows over time as ripple patterns emerge</a:t>
            </a:r>
          </a:p>
        </p:txBody>
      </p:sp>
      <p:pic>
        <p:nvPicPr>
          <p:cNvPr id="4" name="Picture 3" descr="A picture containing projector, vector graphics&#10;&#10;Description automatically generated">
            <a:extLst>
              <a:ext uri="{FF2B5EF4-FFF2-40B4-BE49-F238E27FC236}">
                <a16:creationId xmlns:a16="http://schemas.microsoft.com/office/drawing/2014/main" id="{A4804474-D319-CDC1-4C73-2086A63FD5B3}"/>
              </a:ext>
            </a:extLst>
          </p:cNvPr>
          <p:cNvPicPr>
            <a:picLocks noChangeAspect="1"/>
          </p:cNvPicPr>
          <p:nvPr/>
        </p:nvPicPr>
        <p:blipFill>
          <a:blip r:embed="rId2"/>
          <a:stretch>
            <a:fillRect/>
          </a:stretch>
        </p:blipFill>
        <p:spPr>
          <a:xfrm>
            <a:off x="1941924" y="4368946"/>
            <a:ext cx="348653" cy="348653"/>
          </a:xfrm>
          <a:prstGeom prst="rect">
            <a:avLst/>
          </a:prstGeom>
          <a:ln>
            <a:solidFill>
              <a:schemeClr val="tx1"/>
            </a:solidFill>
          </a:ln>
        </p:spPr>
      </p:pic>
      <p:pic>
        <p:nvPicPr>
          <p:cNvPr id="6" name="Picture 5" descr="Icon&#10;&#10;Description automatically generated">
            <a:extLst>
              <a:ext uri="{FF2B5EF4-FFF2-40B4-BE49-F238E27FC236}">
                <a16:creationId xmlns:a16="http://schemas.microsoft.com/office/drawing/2014/main" id="{DC5B9B7B-B0A3-F1AD-DC25-0393717623EA}"/>
              </a:ext>
            </a:extLst>
          </p:cNvPr>
          <p:cNvPicPr>
            <a:picLocks noChangeAspect="1"/>
          </p:cNvPicPr>
          <p:nvPr/>
        </p:nvPicPr>
        <p:blipFill>
          <a:blip r:embed="rId3"/>
          <a:stretch>
            <a:fillRect/>
          </a:stretch>
        </p:blipFill>
        <p:spPr>
          <a:xfrm>
            <a:off x="1947286" y="1969634"/>
            <a:ext cx="348653" cy="348653"/>
          </a:xfrm>
          <a:prstGeom prst="rect">
            <a:avLst/>
          </a:prstGeom>
          <a:ln>
            <a:solidFill>
              <a:schemeClr val="tx1"/>
            </a:solidFill>
          </a:ln>
        </p:spPr>
      </p:pic>
      <p:pic>
        <p:nvPicPr>
          <p:cNvPr id="8" name="Picture 7" descr="Icon&#10;&#10;Description automatically generated with medium confidence">
            <a:extLst>
              <a:ext uri="{FF2B5EF4-FFF2-40B4-BE49-F238E27FC236}">
                <a16:creationId xmlns:a16="http://schemas.microsoft.com/office/drawing/2014/main" id="{27368FF5-5E08-017F-B67F-A89C3044E221}"/>
              </a:ext>
            </a:extLst>
          </p:cNvPr>
          <p:cNvPicPr>
            <a:picLocks noChangeAspect="1"/>
          </p:cNvPicPr>
          <p:nvPr/>
        </p:nvPicPr>
        <p:blipFill>
          <a:blip r:embed="rId4"/>
          <a:stretch>
            <a:fillRect/>
          </a:stretch>
        </p:blipFill>
        <p:spPr>
          <a:xfrm>
            <a:off x="1941924" y="3080347"/>
            <a:ext cx="348653" cy="348653"/>
          </a:xfrm>
          <a:prstGeom prst="rect">
            <a:avLst/>
          </a:prstGeom>
          <a:ln>
            <a:solidFill>
              <a:schemeClr val="tx1"/>
            </a:solidFill>
          </a:ln>
        </p:spPr>
      </p:pic>
      <p:pic>
        <p:nvPicPr>
          <p:cNvPr id="10" name="Picture 9" descr="A picture containing projector, vector graphics&#10;&#10;Description automatically generated">
            <a:extLst>
              <a:ext uri="{FF2B5EF4-FFF2-40B4-BE49-F238E27FC236}">
                <a16:creationId xmlns:a16="http://schemas.microsoft.com/office/drawing/2014/main" id="{975CACA7-81CD-44DA-D99A-354E3922AB40}"/>
              </a:ext>
            </a:extLst>
          </p:cNvPr>
          <p:cNvPicPr>
            <a:picLocks noChangeAspect="1"/>
          </p:cNvPicPr>
          <p:nvPr/>
        </p:nvPicPr>
        <p:blipFill>
          <a:blip r:embed="rId2"/>
          <a:stretch>
            <a:fillRect/>
          </a:stretch>
        </p:blipFill>
        <p:spPr>
          <a:xfrm>
            <a:off x="1941924" y="5923311"/>
            <a:ext cx="348653" cy="348653"/>
          </a:xfrm>
          <a:prstGeom prst="rect">
            <a:avLst/>
          </a:prstGeom>
          <a:ln>
            <a:solidFill>
              <a:schemeClr val="tx1"/>
            </a:solidFill>
          </a:ln>
        </p:spPr>
      </p:pic>
      <p:sp>
        <p:nvSpPr>
          <p:cNvPr id="5" name="TextBox 4">
            <a:extLst>
              <a:ext uri="{FF2B5EF4-FFF2-40B4-BE49-F238E27FC236}">
                <a16:creationId xmlns:a16="http://schemas.microsoft.com/office/drawing/2014/main" id="{41257507-B98C-EC29-0D4E-057DEE512A8A}"/>
              </a:ext>
            </a:extLst>
          </p:cNvPr>
          <p:cNvSpPr txBox="1"/>
          <p:nvPr/>
        </p:nvSpPr>
        <p:spPr>
          <a:xfrm>
            <a:off x="10567951" y="130421"/>
            <a:ext cx="1528396" cy="664469"/>
          </a:xfrm>
          <a:prstGeom prst="rect">
            <a:avLst/>
          </a:prstGeom>
          <a:solidFill>
            <a:schemeClr val="accent2"/>
          </a:solidFill>
        </p:spPr>
        <p:txBody>
          <a:bodyPr wrap="square" rtlCol="0" anchor="ctr" anchorCtr="0">
            <a:noAutofit/>
          </a:bodyPr>
          <a:lstStyle>
            <a:defPPr>
              <a:defRPr lang="en-US"/>
            </a:defPPr>
            <a:lvl1pPr algn="ctr">
              <a:spcBef>
                <a:spcPts val="1200"/>
              </a:spcBef>
              <a:defRPr sz="1600" b="1">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GB" sz="1100" dirty="0"/>
              <a:t>Option: Learning impact analytics</a:t>
            </a:r>
          </a:p>
        </p:txBody>
      </p:sp>
    </p:spTree>
    <p:extLst>
      <p:ext uri="{BB962C8B-B14F-4D97-AF65-F5344CB8AC3E}">
        <p14:creationId xmlns:p14="http://schemas.microsoft.com/office/powerpoint/2010/main" val="40624851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56">
            <a:extLst>
              <a:ext uri="{FF2B5EF4-FFF2-40B4-BE49-F238E27FC236}">
                <a16:creationId xmlns:a16="http://schemas.microsoft.com/office/drawing/2014/main" id="{3E4FAAAF-BAE0-4B3C-85A7-1A2331703E05}"/>
              </a:ext>
            </a:extLst>
          </p:cNvPr>
          <p:cNvSpPr/>
          <p:nvPr/>
        </p:nvSpPr>
        <p:spPr>
          <a:xfrm>
            <a:off x="6034937" y="4318945"/>
            <a:ext cx="506412" cy="360000"/>
          </a:xfrm>
          <a:prstGeom prst="rect">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a:solidFill>
                <a:schemeClr val="bg1"/>
              </a:solidFill>
              <a:latin typeface="Tahoma" panose="020B0604030504040204" pitchFamily="34" charset="0"/>
              <a:ea typeface="Tahoma" panose="020B0604030504040204" pitchFamily="34" charset="0"/>
              <a:cs typeface="Tahoma" panose="020B0604030504040204" pitchFamily="34" charset="0"/>
            </a:endParaRPr>
          </a:p>
        </p:txBody>
      </p:sp>
      <p:pic>
        <p:nvPicPr>
          <p:cNvPr id="4098" name="Picture 2" descr="Image result for four steps">
            <a:extLst>
              <a:ext uri="{FF2B5EF4-FFF2-40B4-BE49-F238E27FC236}">
                <a16:creationId xmlns:a16="http://schemas.microsoft.com/office/drawing/2014/main" id="{074CA7CD-0E0E-447D-89A7-00647D86B39A}"/>
              </a:ext>
            </a:extLst>
          </p:cNvPr>
          <p:cNvPicPr>
            <a:picLocks noChangeAspect="1" noChangeArrowheads="1"/>
          </p:cNvPicPr>
          <p:nvPr/>
        </p:nvPicPr>
        <p:blipFill>
          <a:blip r:embed="rId3">
            <a:alphaModFix amt="50000"/>
            <a:extLst>
              <a:ext uri="{28A0092B-C50C-407E-A947-70E740481C1C}">
                <a14:useLocalDpi xmlns:a14="http://schemas.microsoft.com/office/drawing/2010/main" val="0"/>
              </a:ext>
            </a:extLst>
          </a:blip>
          <a:srcRect/>
          <a:stretch>
            <a:fillRect/>
          </a:stretch>
        </p:blipFill>
        <p:spPr bwMode="auto">
          <a:xfrm>
            <a:off x="0" y="-1"/>
            <a:ext cx="12192000" cy="6858001"/>
          </a:xfrm>
          <a:prstGeom prst="rect">
            <a:avLst/>
          </a:prstGeom>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A2174DA-7959-4A18-8DB1-EDCCCFE0B2E0}"/>
              </a:ext>
            </a:extLst>
          </p:cNvPr>
          <p:cNvSpPr/>
          <p:nvPr/>
        </p:nvSpPr>
        <p:spPr>
          <a:xfrm>
            <a:off x="0" y="-25351"/>
            <a:ext cx="12192000" cy="6858000"/>
          </a:xfrm>
          <a:prstGeom prst="rect">
            <a:avLst/>
          </a:prstGeom>
          <a:solidFill>
            <a:srgbClr val="FAEDD6">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55" name="Straight Arrow Connector 39">
            <a:extLst>
              <a:ext uri="{FF2B5EF4-FFF2-40B4-BE49-F238E27FC236}">
                <a16:creationId xmlns:a16="http://schemas.microsoft.com/office/drawing/2014/main" id="{3CBD2945-F0DA-4BFE-B99B-32CC0CC64FDF}"/>
              </a:ext>
            </a:extLst>
          </p:cNvPr>
          <p:cNvCxnSpPr>
            <a:cxnSpLocks/>
            <a:stCxn id="53" idx="2"/>
            <a:endCxn id="11" idx="1"/>
          </p:cNvCxnSpPr>
          <p:nvPr/>
        </p:nvCxnSpPr>
        <p:spPr>
          <a:xfrm rot="16200000" flipH="1">
            <a:off x="4258426" y="3124839"/>
            <a:ext cx="799355" cy="1383228"/>
          </a:xfrm>
          <a:prstGeom prst="bentConnector2">
            <a:avLst/>
          </a:prstGeom>
          <a:ln w="76200">
            <a:solidFill>
              <a:srgbClr val="EBB95F"/>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C3DCF335-DF47-4FA9-A250-D259C4C59813}"/>
              </a:ext>
            </a:extLst>
          </p:cNvPr>
          <p:cNvSpPr/>
          <p:nvPr/>
        </p:nvSpPr>
        <p:spPr>
          <a:xfrm>
            <a:off x="3713283" y="3056776"/>
            <a:ext cx="506412" cy="360000"/>
          </a:xfrm>
          <a:prstGeom prst="rect">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43" name="Rectangle 42">
            <a:extLst>
              <a:ext uri="{FF2B5EF4-FFF2-40B4-BE49-F238E27FC236}">
                <a16:creationId xmlns:a16="http://schemas.microsoft.com/office/drawing/2014/main" id="{9B80EC36-4174-41F4-A4DA-D8662FAE5239}"/>
              </a:ext>
            </a:extLst>
          </p:cNvPr>
          <p:cNvSpPr/>
          <p:nvPr/>
        </p:nvSpPr>
        <p:spPr>
          <a:xfrm>
            <a:off x="1391628" y="1893585"/>
            <a:ext cx="506412" cy="360000"/>
          </a:xfrm>
          <a:prstGeom prst="rect">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 name="Title 2">
            <a:extLst>
              <a:ext uri="{FF2B5EF4-FFF2-40B4-BE49-F238E27FC236}">
                <a16:creationId xmlns:a16="http://schemas.microsoft.com/office/drawing/2014/main" id="{4AEE85ED-A32D-4B0D-B8FA-5350855D0C09}"/>
              </a:ext>
            </a:extLst>
          </p:cNvPr>
          <p:cNvSpPr>
            <a:spLocks noGrp="1"/>
          </p:cNvSpPr>
          <p:nvPr>
            <p:ph type="title"/>
          </p:nvPr>
        </p:nvSpPr>
        <p:spPr/>
        <p:txBody>
          <a:bodyPr/>
          <a:lstStyle/>
          <a:p>
            <a:r>
              <a:rPr lang="en-US" dirty="0"/>
              <a:t>4 Steps to build a bullet-proof skill development engine</a:t>
            </a:r>
            <a:endParaRPr lang="en-GB" dirty="0"/>
          </a:p>
        </p:txBody>
      </p:sp>
      <p:cxnSp>
        <p:nvCxnSpPr>
          <p:cNvPr id="8" name="Straight Arrow Connector 39">
            <a:extLst>
              <a:ext uri="{FF2B5EF4-FFF2-40B4-BE49-F238E27FC236}">
                <a16:creationId xmlns:a16="http://schemas.microsoft.com/office/drawing/2014/main" id="{4CCB1E52-29D6-4687-9D72-442634816968}"/>
              </a:ext>
            </a:extLst>
          </p:cNvPr>
          <p:cNvCxnSpPr>
            <a:cxnSpLocks/>
            <a:stCxn id="43" idx="2"/>
            <a:endCxn id="10" idx="1"/>
          </p:cNvCxnSpPr>
          <p:nvPr/>
        </p:nvCxnSpPr>
        <p:spPr>
          <a:xfrm rot="16200000" flipH="1">
            <a:off x="1977922" y="1920496"/>
            <a:ext cx="764909" cy="1431085"/>
          </a:xfrm>
          <a:prstGeom prst="bentConnector2">
            <a:avLst/>
          </a:prstGeom>
          <a:ln w="76200">
            <a:solidFill>
              <a:srgbClr val="EBB95F"/>
            </a:solidFill>
            <a:headEnd type="none" w="med" len="med"/>
            <a:tailEnd type="triangle"/>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B83B4D9D-993F-4469-B294-BE5CCE469233}"/>
              </a:ext>
            </a:extLst>
          </p:cNvPr>
          <p:cNvGrpSpPr/>
          <p:nvPr/>
        </p:nvGrpSpPr>
        <p:grpSpPr>
          <a:xfrm>
            <a:off x="666525" y="1206258"/>
            <a:ext cx="3904891" cy="1056037"/>
            <a:chOff x="226182" y="929926"/>
            <a:chExt cx="3760031" cy="1056037"/>
          </a:xfrm>
        </p:grpSpPr>
        <p:sp>
          <p:nvSpPr>
            <p:cNvPr id="9" name="Rectangle: Rounded Corners 8">
              <a:extLst>
                <a:ext uri="{FF2B5EF4-FFF2-40B4-BE49-F238E27FC236}">
                  <a16:creationId xmlns:a16="http://schemas.microsoft.com/office/drawing/2014/main" id="{DF32ACF6-752A-4D8B-9B2F-E55D70477B67}"/>
                </a:ext>
              </a:extLst>
            </p:cNvPr>
            <p:cNvSpPr/>
            <p:nvPr/>
          </p:nvSpPr>
          <p:spPr>
            <a:xfrm>
              <a:off x="350838" y="1073953"/>
              <a:ext cx="3635375" cy="912010"/>
            </a:xfrm>
            <a:prstGeom prst="roundRect">
              <a:avLst/>
            </a:prstGeom>
            <a:solidFill>
              <a:srgbClr val="0020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r>
                <a:rPr lang="en-US" sz="1600" b="1" dirty="0">
                  <a:solidFill>
                    <a:schemeClr val="bg1"/>
                  </a:solidFill>
                  <a:latin typeface="Tahoma" panose="020B0604030504040204" pitchFamily="34" charset="0"/>
                  <a:ea typeface="Tahoma" panose="020B0604030504040204" pitchFamily="34" charset="0"/>
                  <a:cs typeface="Tahoma" panose="020B0604030504040204" pitchFamily="34" charset="0"/>
                </a:rPr>
                <a:t>Define, in detail, the capabilities you need to deliver your strategy</a:t>
              </a:r>
            </a:p>
          </p:txBody>
        </p:sp>
        <p:sp>
          <p:nvSpPr>
            <p:cNvPr id="7" name="Oval 6">
              <a:extLst>
                <a:ext uri="{FF2B5EF4-FFF2-40B4-BE49-F238E27FC236}">
                  <a16:creationId xmlns:a16="http://schemas.microsoft.com/office/drawing/2014/main" id="{AC0BE04E-2DC6-4271-BF0F-7BD4335AC60A}"/>
                </a:ext>
              </a:extLst>
            </p:cNvPr>
            <p:cNvSpPr/>
            <p:nvPr/>
          </p:nvSpPr>
          <p:spPr>
            <a:xfrm>
              <a:off x="226182" y="929926"/>
              <a:ext cx="360000" cy="360000"/>
            </a:xfrm>
            <a:prstGeom prst="ellipse">
              <a:avLst/>
            </a:prstGeom>
            <a:solidFill>
              <a:srgbClr val="EBB95F"/>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r>
                <a:rPr lang="en-GB" b="1" dirty="0">
                  <a:solidFill>
                    <a:schemeClr val="bg1"/>
                  </a:solidFill>
                  <a:latin typeface="Tahoma" panose="020B0604030504040204" pitchFamily="34" charset="0"/>
                  <a:ea typeface="Tahoma" panose="020B0604030504040204" pitchFamily="34" charset="0"/>
                  <a:cs typeface="Tahoma" panose="020B0604030504040204" pitchFamily="34" charset="0"/>
                </a:rPr>
                <a:t>1</a:t>
              </a:r>
              <a:endParaRPr lang="en-GB" sz="140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grpSp>
      <p:grpSp>
        <p:nvGrpSpPr>
          <p:cNvPr id="36" name="Group 35">
            <a:extLst>
              <a:ext uri="{FF2B5EF4-FFF2-40B4-BE49-F238E27FC236}">
                <a16:creationId xmlns:a16="http://schemas.microsoft.com/office/drawing/2014/main" id="{5B43BBFB-1426-4B4B-8500-91850276BA66}"/>
              </a:ext>
            </a:extLst>
          </p:cNvPr>
          <p:cNvGrpSpPr/>
          <p:nvPr/>
        </p:nvGrpSpPr>
        <p:grpSpPr>
          <a:xfrm>
            <a:off x="5232535" y="3645239"/>
            <a:ext cx="3892615" cy="1026897"/>
            <a:chOff x="4424362" y="3266258"/>
            <a:chExt cx="3748210" cy="1026897"/>
          </a:xfrm>
        </p:grpSpPr>
        <p:sp>
          <p:nvSpPr>
            <p:cNvPr id="11" name="Rectangle: Rounded Corners 10">
              <a:extLst>
                <a:ext uri="{FF2B5EF4-FFF2-40B4-BE49-F238E27FC236}">
                  <a16:creationId xmlns:a16="http://schemas.microsoft.com/office/drawing/2014/main" id="{130ECDBC-7357-4B39-8CC1-C2D8ED0D47FE}"/>
                </a:ext>
              </a:extLst>
            </p:cNvPr>
            <p:cNvSpPr/>
            <p:nvPr/>
          </p:nvSpPr>
          <p:spPr>
            <a:xfrm>
              <a:off x="4537197" y="3381145"/>
              <a:ext cx="3635375" cy="912010"/>
            </a:xfrm>
            <a:prstGeom prst="roundRect">
              <a:avLst/>
            </a:prstGeom>
            <a:solidFill>
              <a:srgbClr val="002060"/>
            </a:solidFill>
            <a:ln w="63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7200" bIns="36000" rtlCol="0" anchor="ctr" anchorCtr="1"/>
            <a:lstStyle/>
            <a:p>
              <a:pPr algn="ctr"/>
              <a:r>
                <a:rPr lang="en-US" sz="1600" b="1" dirty="0">
                  <a:solidFill>
                    <a:schemeClr val="bg1"/>
                  </a:solidFill>
                  <a:latin typeface="Tahoma" panose="020B0604030504040204" pitchFamily="34" charset="0"/>
                  <a:ea typeface="Tahoma" panose="020B0604030504040204" pitchFamily="34" charset="0"/>
                  <a:cs typeface="Tahoma" panose="020B0604030504040204" pitchFamily="34" charset="0"/>
                </a:rPr>
                <a:t>Measure your current skill gaps and identify priorities</a:t>
              </a:r>
            </a:p>
          </p:txBody>
        </p:sp>
        <p:sp>
          <p:nvSpPr>
            <p:cNvPr id="18" name="Oval 17">
              <a:extLst>
                <a:ext uri="{FF2B5EF4-FFF2-40B4-BE49-F238E27FC236}">
                  <a16:creationId xmlns:a16="http://schemas.microsoft.com/office/drawing/2014/main" id="{5FE98802-D50B-4494-BEB7-56848C90DF88}"/>
                </a:ext>
              </a:extLst>
            </p:cNvPr>
            <p:cNvSpPr/>
            <p:nvPr/>
          </p:nvSpPr>
          <p:spPr>
            <a:xfrm>
              <a:off x="4424362" y="3266258"/>
              <a:ext cx="360000" cy="360000"/>
            </a:xfrm>
            <a:prstGeom prst="ellipse">
              <a:avLst/>
            </a:prstGeom>
            <a:solidFill>
              <a:srgbClr val="EBB95F"/>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r>
                <a:rPr lang="en-GB" b="1" dirty="0">
                  <a:solidFill>
                    <a:schemeClr val="bg1"/>
                  </a:solidFill>
                  <a:latin typeface="Tahoma" panose="020B0604030504040204" pitchFamily="34" charset="0"/>
                  <a:ea typeface="Tahoma" panose="020B0604030504040204" pitchFamily="34" charset="0"/>
                  <a:cs typeface="Tahoma" panose="020B0604030504040204" pitchFamily="34" charset="0"/>
                </a:rPr>
                <a:t>3</a:t>
              </a:r>
              <a:endParaRPr lang="en-GB" sz="140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grpSp>
      <p:grpSp>
        <p:nvGrpSpPr>
          <p:cNvPr id="37" name="Group 36">
            <a:extLst>
              <a:ext uri="{FF2B5EF4-FFF2-40B4-BE49-F238E27FC236}">
                <a16:creationId xmlns:a16="http://schemas.microsoft.com/office/drawing/2014/main" id="{2E7CF921-E48D-4773-9F9D-1C88BD8F0F41}"/>
              </a:ext>
            </a:extLst>
          </p:cNvPr>
          <p:cNvGrpSpPr/>
          <p:nvPr/>
        </p:nvGrpSpPr>
        <p:grpSpPr>
          <a:xfrm>
            <a:off x="2952599" y="2433033"/>
            <a:ext cx="3898753" cy="1041466"/>
            <a:chOff x="2321693" y="2084690"/>
            <a:chExt cx="3754120" cy="1041466"/>
          </a:xfrm>
        </p:grpSpPr>
        <p:sp>
          <p:nvSpPr>
            <p:cNvPr id="10" name="Rectangle: Rounded Corners 9">
              <a:extLst>
                <a:ext uri="{FF2B5EF4-FFF2-40B4-BE49-F238E27FC236}">
                  <a16:creationId xmlns:a16="http://schemas.microsoft.com/office/drawing/2014/main" id="{2D28E216-AEA4-4962-93EB-034A29A646EC}"/>
                </a:ext>
              </a:extLst>
            </p:cNvPr>
            <p:cNvSpPr/>
            <p:nvPr/>
          </p:nvSpPr>
          <p:spPr>
            <a:xfrm>
              <a:off x="2440438" y="2214146"/>
              <a:ext cx="3635375" cy="912010"/>
            </a:xfrm>
            <a:prstGeom prst="roundRect">
              <a:avLst/>
            </a:prstGeom>
            <a:solidFill>
              <a:srgbClr val="002060"/>
            </a:solidFill>
            <a:ln w="63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r>
                <a:rPr lang="en-US" sz="1600" b="1" dirty="0">
                  <a:solidFill>
                    <a:schemeClr val="bg1"/>
                  </a:solidFill>
                  <a:latin typeface="Tahoma" panose="020B0604030504040204" pitchFamily="34" charset="0"/>
                  <a:ea typeface="Tahoma" panose="020B0604030504040204" pitchFamily="34" charset="0"/>
                  <a:cs typeface="Tahoma" panose="020B0604030504040204" pitchFamily="34" charset="0"/>
                </a:rPr>
                <a:t>Define expectations for each role and create flexible career paths</a:t>
              </a:r>
            </a:p>
          </p:txBody>
        </p:sp>
        <p:sp>
          <p:nvSpPr>
            <p:cNvPr id="19" name="Oval 18">
              <a:extLst>
                <a:ext uri="{FF2B5EF4-FFF2-40B4-BE49-F238E27FC236}">
                  <a16:creationId xmlns:a16="http://schemas.microsoft.com/office/drawing/2014/main" id="{2D998205-B11F-4593-A2E3-453DDC181351}"/>
                </a:ext>
              </a:extLst>
            </p:cNvPr>
            <p:cNvSpPr/>
            <p:nvPr/>
          </p:nvSpPr>
          <p:spPr>
            <a:xfrm>
              <a:off x="2321693" y="2084690"/>
              <a:ext cx="360000" cy="360000"/>
            </a:xfrm>
            <a:prstGeom prst="ellipse">
              <a:avLst/>
            </a:prstGeom>
            <a:solidFill>
              <a:srgbClr val="EBB95F"/>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r>
                <a:rPr lang="en-GB" b="1" dirty="0">
                  <a:solidFill>
                    <a:schemeClr val="bg1"/>
                  </a:solidFill>
                  <a:latin typeface="Tahoma" panose="020B0604030504040204" pitchFamily="34" charset="0"/>
                  <a:ea typeface="Tahoma" panose="020B0604030504040204" pitchFamily="34" charset="0"/>
                  <a:cs typeface="Tahoma" panose="020B0604030504040204" pitchFamily="34" charset="0"/>
                </a:rPr>
                <a:t>2</a:t>
              </a:r>
              <a:endParaRPr lang="en-GB" sz="140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grpSp>
      <p:grpSp>
        <p:nvGrpSpPr>
          <p:cNvPr id="35" name="Group 34">
            <a:extLst>
              <a:ext uri="{FF2B5EF4-FFF2-40B4-BE49-F238E27FC236}">
                <a16:creationId xmlns:a16="http://schemas.microsoft.com/office/drawing/2014/main" id="{0793988C-5122-408F-8589-FEC8F6387BDF}"/>
              </a:ext>
            </a:extLst>
          </p:cNvPr>
          <p:cNvGrpSpPr/>
          <p:nvPr/>
        </p:nvGrpSpPr>
        <p:grpSpPr>
          <a:xfrm>
            <a:off x="7506332" y="4857163"/>
            <a:ext cx="3892615" cy="1026897"/>
            <a:chOff x="5806953" y="4566543"/>
            <a:chExt cx="3748210" cy="1026897"/>
          </a:xfrm>
        </p:grpSpPr>
        <p:sp>
          <p:nvSpPr>
            <p:cNvPr id="28" name="Rectangle: Rounded Corners 27">
              <a:extLst>
                <a:ext uri="{FF2B5EF4-FFF2-40B4-BE49-F238E27FC236}">
                  <a16:creationId xmlns:a16="http://schemas.microsoft.com/office/drawing/2014/main" id="{1E2BB4D6-FC8E-48FE-8407-0E57ECE8EDD4}"/>
                </a:ext>
              </a:extLst>
            </p:cNvPr>
            <p:cNvSpPr/>
            <p:nvPr/>
          </p:nvSpPr>
          <p:spPr>
            <a:xfrm>
              <a:off x="5919788" y="4681430"/>
              <a:ext cx="3635375" cy="912010"/>
            </a:xfrm>
            <a:prstGeom prst="roundRect">
              <a:avLst/>
            </a:prstGeom>
            <a:solidFill>
              <a:srgbClr val="002060"/>
            </a:solidFill>
            <a:ln w="63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7200" bIns="36000" rtlCol="0" anchor="ctr" anchorCtr="1"/>
            <a:lstStyle/>
            <a:p>
              <a:pPr algn="ctr"/>
              <a:r>
                <a:rPr lang="en-US" sz="1600" b="1" dirty="0">
                  <a:solidFill>
                    <a:schemeClr val="bg1"/>
                  </a:solidFill>
                  <a:latin typeface="Tahoma" panose="020B0604030504040204" pitchFamily="34" charset="0"/>
                  <a:ea typeface="Tahoma" panose="020B0604030504040204" pitchFamily="34" charset="0"/>
                  <a:cs typeface="Tahoma" panose="020B0604030504040204" pitchFamily="34" charset="0"/>
                </a:rPr>
                <a:t>Make a plan - training, coaching, experience, processes etc.</a:t>
              </a:r>
            </a:p>
          </p:txBody>
        </p:sp>
        <p:sp>
          <p:nvSpPr>
            <p:cNvPr id="30" name="Oval 29">
              <a:extLst>
                <a:ext uri="{FF2B5EF4-FFF2-40B4-BE49-F238E27FC236}">
                  <a16:creationId xmlns:a16="http://schemas.microsoft.com/office/drawing/2014/main" id="{10E11672-6504-4B16-A8EB-E0904DDB4729}"/>
                </a:ext>
              </a:extLst>
            </p:cNvPr>
            <p:cNvSpPr/>
            <p:nvPr/>
          </p:nvSpPr>
          <p:spPr>
            <a:xfrm>
              <a:off x="5806953" y="4566543"/>
              <a:ext cx="360000" cy="360000"/>
            </a:xfrm>
            <a:prstGeom prst="ellipse">
              <a:avLst/>
            </a:prstGeom>
            <a:solidFill>
              <a:srgbClr val="EBB95F"/>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r>
                <a:rPr lang="en-GB" sz="1600" b="1" dirty="0">
                  <a:solidFill>
                    <a:schemeClr val="bg1"/>
                  </a:solidFill>
                  <a:latin typeface="Tahoma" panose="020B0604030504040204" pitchFamily="34" charset="0"/>
                  <a:ea typeface="Tahoma" panose="020B0604030504040204" pitchFamily="34" charset="0"/>
                  <a:cs typeface="Tahoma" panose="020B0604030504040204" pitchFamily="34" charset="0"/>
                </a:rPr>
                <a:t>4</a:t>
              </a:r>
              <a:endParaRPr lang="en-GB" sz="140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grpSp>
      <p:cxnSp>
        <p:nvCxnSpPr>
          <p:cNvPr id="58" name="Straight Arrow Connector 39">
            <a:extLst>
              <a:ext uri="{FF2B5EF4-FFF2-40B4-BE49-F238E27FC236}">
                <a16:creationId xmlns:a16="http://schemas.microsoft.com/office/drawing/2014/main" id="{5D6984DA-0A4D-4232-99A8-9207CD22049B}"/>
              </a:ext>
            </a:extLst>
          </p:cNvPr>
          <p:cNvCxnSpPr>
            <a:cxnSpLocks/>
            <a:stCxn id="57" idx="2"/>
            <a:endCxn id="28" idx="1"/>
          </p:cNvCxnSpPr>
          <p:nvPr/>
        </p:nvCxnSpPr>
        <p:spPr>
          <a:xfrm rot="16200000" flipH="1">
            <a:off x="6581273" y="4385814"/>
            <a:ext cx="749110" cy="1335371"/>
          </a:xfrm>
          <a:prstGeom prst="bentConnector2">
            <a:avLst/>
          </a:prstGeom>
          <a:ln w="76200">
            <a:solidFill>
              <a:srgbClr val="EBB95F"/>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 name="Slide Number Placeholder 3">
            <a:extLst>
              <a:ext uri="{FF2B5EF4-FFF2-40B4-BE49-F238E27FC236}">
                <a16:creationId xmlns:a16="http://schemas.microsoft.com/office/drawing/2014/main" id="{913F7FCD-4255-49C3-B675-7A10B079AE6F}"/>
              </a:ext>
            </a:extLst>
          </p:cNvPr>
          <p:cNvSpPr>
            <a:spLocks noGrp="1"/>
          </p:cNvSpPr>
          <p:nvPr>
            <p:ph type="sldNum" sz="quarter" idx="4"/>
          </p:nvPr>
        </p:nvSpPr>
        <p:spPr>
          <a:xfrm>
            <a:off x="9741532" y="6356351"/>
            <a:ext cx="2228850" cy="365125"/>
          </a:xfrm>
          <a:prstGeom prst="rect">
            <a:avLst/>
          </a:prstGeom>
        </p:spPr>
        <p:txBody>
          <a:bodyPr vert="horz" lIns="91440" tIns="45720" rIns="91440" bIns="45720" rtlCol="0" anchor="ctr"/>
          <a:lstStyle>
            <a:defPPr>
              <a:defRPr lang="en-US"/>
            </a:defPPr>
            <a:lvl1pPr marL="0" algn="r" defTabSz="914400" rtl="0" eaLnBrk="1" latinLnBrk="0" hangingPunct="1">
              <a:defRPr sz="975" kern="1200">
                <a:solidFill>
                  <a:schemeClr val="tx2"/>
                </a:solidFill>
                <a:latin typeface="Tahoma" panose="020B0604030504040204" pitchFamily="34" charset="0"/>
                <a:ea typeface="Tahoma" panose="020B0604030504040204" pitchFamily="34" charset="0"/>
                <a:cs typeface="Tahom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887534-9256-4D4A-AB4E-4EBB84A560FF}" type="slidenum">
              <a:rPr lang="en-GB" smtClean="0"/>
              <a:pPr/>
              <a:t>3</a:t>
            </a:fld>
            <a:endParaRPr lang="en-GB" dirty="0"/>
          </a:p>
        </p:txBody>
      </p:sp>
      <p:sp>
        <p:nvSpPr>
          <p:cNvPr id="6" name="Speech Bubble: Rectangle 5">
            <a:extLst>
              <a:ext uri="{FF2B5EF4-FFF2-40B4-BE49-F238E27FC236}">
                <a16:creationId xmlns:a16="http://schemas.microsoft.com/office/drawing/2014/main" id="{8477267D-9286-98E4-2682-5CFFFDC0CE29}"/>
              </a:ext>
            </a:extLst>
          </p:cNvPr>
          <p:cNvSpPr/>
          <p:nvPr/>
        </p:nvSpPr>
        <p:spPr>
          <a:xfrm>
            <a:off x="5091813" y="1237876"/>
            <a:ext cx="4291240" cy="805922"/>
          </a:xfrm>
          <a:prstGeom prst="wedgeRectCallout">
            <a:avLst>
              <a:gd name="adj1" fmla="val -60058"/>
              <a:gd name="adj2" fmla="val 16811"/>
            </a:avLst>
          </a:prstGeom>
          <a:solidFill>
            <a:schemeClr val="accent3"/>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latin typeface="Tahoma" panose="020B0604030504040204" pitchFamily="34" charset="0"/>
                <a:ea typeface="Tahoma" panose="020B0604030504040204" pitchFamily="34" charset="0"/>
                <a:cs typeface="Tahoma" panose="020B0604030504040204" pitchFamily="34" charset="0"/>
              </a:rPr>
              <a:t>Focus on what differentiates you + what you need to deliver for clients. Also consider core consulting skills and operational needs.</a:t>
            </a:r>
          </a:p>
        </p:txBody>
      </p:sp>
      <p:sp>
        <p:nvSpPr>
          <p:cNvPr id="12" name="Speech Bubble: Rectangle 11">
            <a:extLst>
              <a:ext uri="{FF2B5EF4-FFF2-40B4-BE49-F238E27FC236}">
                <a16:creationId xmlns:a16="http://schemas.microsoft.com/office/drawing/2014/main" id="{F7675373-711E-679C-73C6-FCA3D2B88514}"/>
              </a:ext>
            </a:extLst>
          </p:cNvPr>
          <p:cNvSpPr/>
          <p:nvPr/>
        </p:nvSpPr>
        <p:spPr>
          <a:xfrm>
            <a:off x="7468962" y="2428868"/>
            <a:ext cx="4291240" cy="805922"/>
          </a:xfrm>
          <a:prstGeom prst="wedgeRectCallout">
            <a:avLst>
              <a:gd name="adj1" fmla="val -60058"/>
              <a:gd name="adj2" fmla="val 16811"/>
            </a:avLst>
          </a:prstGeom>
          <a:solidFill>
            <a:schemeClr val="accent3"/>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latin typeface="Tahoma" panose="020B0604030504040204" pitchFamily="34" charset="0"/>
                <a:ea typeface="Tahoma" panose="020B0604030504040204" pitchFamily="34" charset="0"/>
                <a:cs typeface="Tahoma" panose="020B0604030504040204" pitchFamily="34" charset="0"/>
              </a:rPr>
              <a:t>Create a competency matrix that is flexible, with career paths that allow people to choose what works for the firm + works for them</a:t>
            </a:r>
          </a:p>
        </p:txBody>
      </p:sp>
      <p:sp>
        <p:nvSpPr>
          <p:cNvPr id="13" name="Speech Bubble: Rectangle 12">
            <a:extLst>
              <a:ext uri="{FF2B5EF4-FFF2-40B4-BE49-F238E27FC236}">
                <a16:creationId xmlns:a16="http://schemas.microsoft.com/office/drawing/2014/main" id="{BCB04393-DB25-30C5-DF84-55AF043DC443}"/>
              </a:ext>
            </a:extLst>
          </p:cNvPr>
          <p:cNvSpPr/>
          <p:nvPr/>
        </p:nvSpPr>
        <p:spPr>
          <a:xfrm>
            <a:off x="683048" y="4569089"/>
            <a:ext cx="4291240" cy="805922"/>
          </a:xfrm>
          <a:prstGeom prst="wedgeRectCallout">
            <a:avLst>
              <a:gd name="adj1" fmla="val 56212"/>
              <a:gd name="adj2" fmla="val -41152"/>
            </a:avLst>
          </a:prstGeom>
          <a:solidFill>
            <a:schemeClr val="accent3"/>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latin typeface="Tahoma" panose="020B0604030504040204" pitchFamily="34" charset="0"/>
                <a:ea typeface="Tahoma" panose="020B0604030504040204" pitchFamily="34" charset="0"/>
                <a:cs typeface="Tahoma" panose="020B0604030504040204" pitchFamily="34" charset="0"/>
              </a:rPr>
              <a:t>Define performance review tools &amp; processes and gather baseline data. Identify gaps – firm-wide, peer groups, individuals.</a:t>
            </a:r>
          </a:p>
        </p:txBody>
      </p:sp>
      <p:sp>
        <p:nvSpPr>
          <p:cNvPr id="14" name="Speech Bubble: Rectangle 13">
            <a:extLst>
              <a:ext uri="{FF2B5EF4-FFF2-40B4-BE49-F238E27FC236}">
                <a16:creationId xmlns:a16="http://schemas.microsoft.com/office/drawing/2014/main" id="{05E3286D-D739-317C-2D03-A05FFD1AAFD6}"/>
              </a:ext>
            </a:extLst>
          </p:cNvPr>
          <p:cNvSpPr/>
          <p:nvPr/>
        </p:nvSpPr>
        <p:spPr>
          <a:xfrm>
            <a:off x="2952599" y="5732332"/>
            <a:ext cx="4291240" cy="805922"/>
          </a:xfrm>
          <a:prstGeom prst="wedgeRectCallout">
            <a:avLst>
              <a:gd name="adj1" fmla="val 56212"/>
              <a:gd name="adj2" fmla="val -41152"/>
            </a:avLst>
          </a:prstGeom>
          <a:solidFill>
            <a:schemeClr val="accent3"/>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latin typeface="Tahoma" panose="020B0604030504040204" pitchFamily="34" charset="0"/>
                <a:ea typeface="Tahoma" panose="020B0604030504040204" pitchFamily="34" charset="0"/>
                <a:cs typeface="Tahoma" panose="020B0604030504040204" pitchFamily="34" charset="0"/>
              </a:rPr>
              <a:t>Decide how best to close gaps and create a training curriculum for each role. </a:t>
            </a:r>
            <a:br>
              <a:rPr lang="en-GB" sz="1600" dirty="0">
                <a:solidFill>
                  <a:schemeClr val="tx1"/>
                </a:solidFill>
                <a:latin typeface="Tahoma" panose="020B0604030504040204" pitchFamily="34" charset="0"/>
                <a:ea typeface="Tahoma" panose="020B0604030504040204" pitchFamily="34" charset="0"/>
                <a:cs typeface="Tahoma" panose="020B0604030504040204" pitchFamily="34" charset="0"/>
              </a:rPr>
            </a:br>
            <a:r>
              <a:rPr lang="en-GB" sz="1600" dirty="0">
                <a:solidFill>
                  <a:schemeClr val="tx1"/>
                </a:solidFill>
                <a:latin typeface="Tahoma" panose="020B0604030504040204" pitchFamily="34" charset="0"/>
                <a:ea typeface="Tahoma" panose="020B0604030504040204" pitchFamily="34" charset="0"/>
                <a:cs typeface="Tahoma" panose="020B0604030504040204" pitchFamily="34" charset="0"/>
              </a:rPr>
              <a:t>Upgrade processes where needed.</a:t>
            </a:r>
          </a:p>
        </p:txBody>
      </p:sp>
    </p:spTree>
    <p:extLst>
      <p:ext uri="{BB962C8B-B14F-4D97-AF65-F5344CB8AC3E}">
        <p14:creationId xmlns:p14="http://schemas.microsoft.com/office/powerpoint/2010/main" val="1173994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1"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hidden"/>
                                      </p:to>
                                    </p:set>
                                  </p:childTnLst>
                                </p:cTn>
                              </p:par>
                              <p:par>
                                <p:cTn id="11" presetID="1" presetClass="entr" presetSubtype="0" fill="hold" grpId="1"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0" nodeType="clickEffect">
                                  <p:stCondLst>
                                    <p:cond delay="0"/>
                                  </p:stCondLst>
                                  <p:childTnLst>
                                    <p:set>
                                      <p:cBhvr>
                                        <p:cTn id="16" dur="1" fill="hold">
                                          <p:stCondLst>
                                            <p:cond delay="0"/>
                                          </p:stCondLst>
                                        </p:cTn>
                                        <p:tgtEl>
                                          <p:spTgt spid="12"/>
                                        </p:tgtEl>
                                        <p:attrNameLst>
                                          <p:attrName>style.visibility</p:attrName>
                                        </p:attrNameLst>
                                      </p:cBhvr>
                                      <p:to>
                                        <p:strVal val="hidden"/>
                                      </p:to>
                                    </p:set>
                                  </p:childTnLst>
                                </p:cTn>
                              </p:par>
                            </p:childTnLst>
                          </p:cTn>
                        </p:par>
                        <p:par>
                          <p:cTn id="17" fill="hold">
                            <p:stCondLst>
                              <p:cond delay="0"/>
                            </p:stCondLst>
                            <p:childTnLst>
                              <p:par>
                                <p:cTn id="18" presetID="1" presetClass="entr" presetSubtype="0" fill="hold" grpId="1" nodeType="afterEffect">
                                  <p:stCondLst>
                                    <p:cond delay="0"/>
                                  </p:stCondLst>
                                  <p:childTnLst>
                                    <p:set>
                                      <p:cBhvr>
                                        <p:cTn id="19" dur="1" fill="hold">
                                          <p:stCondLst>
                                            <p:cond delay="0"/>
                                          </p:stCondLst>
                                        </p:cTn>
                                        <p:tgtEl>
                                          <p:spTgt spid="13"/>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xit" presetSubtype="0" fill="hold" grpId="0" nodeType="clickEffect">
                                  <p:stCondLst>
                                    <p:cond delay="0"/>
                                  </p:stCondLst>
                                  <p:childTnLst>
                                    <p:set>
                                      <p:cBhvr>
                                        <p:cTn id="23" dur="1" fill="hold">
                                          <p:stCondLst>
                                            <p:cond delay="0"/>
                                          </p:stCondLst>
                                        </p:cTn>
                                        <p:tgtEl>
                                          <p:spTgt spid="13"/>
                                        </p:tgtEl>
                                        <p:attrNameLst>
                                          <p:attrName>style.visibility</p:attrName>
                                        </p:attrNameLst>
                                      </p:cBhvr>
                                      <p:to>
                                        <p:strVal val="hidden"/>
                                      </p:to>
                                    </p:set>
                                  </p:childTnLst>
                                </p:cTn>
                              </p:par>
                              <p:par>
                                <p:cTn id="24" presetID="1" presetClass="entr" presetSubtype="0" fill="hold" grpId="0" nodeType="withEffect">
                                  <p:stCondLst>
                                    <p:cond delay="0"/>
                                  </p:stCondLst>
                                  <p:childTnLst>
                                    <p:set>
                                      <p:cBhvr>
                                        <p:cTn id="25"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12" grpId="0" animBg="1"/>
      <p:bldP spid="12" grpId="1" animBg="1"/>
      <p:bldP spid="13" grpId="0" animBg="1"/>
      <p:bldP spid="13" grpId="1" animBg="1"/>
      <p:bldP spid="14"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l="-2000" r="-2000"/>
          </a:stretch>
        </a:blip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91307482-7E1A-4A93-B5B4-BA186D059697}"/>
              </a:ext>
            </a:extLst>
          </p:cNvPr>
          <p:cNvSpPr/>
          <p:nvPr/>
        </p:nvSpPr>
        <p:spPr>
          <a:xfrm>
            <a:off x="-15910" y="0"/>
            <a:ext cx="12192000" cy="6858000"/>
          </a:xfrm>
          <a:prstGeom prst="rect">
            <a:avLst/>
          </a:pr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itle 2">
            <a:extLst>
              <a:ext uri="{FF2B5EF4-FFF2-40B4-BE49-F238E27FC236}">
                <a16:creationId xmlns:a16="http://schemas.microsoft.com/office/drawing/2014/main" id="{5A26472E-B07C-E39D-4B66-58C31EB0D535}"/>
              </a:ext>
            </a:extLst>
          </p:cNvPr>
          <p:cNvSpPr>
            <a:spLocks noGrp="1"/>
          </p:cNvSpPr>
          <p:nvPr>
            <p:ph type="title"/>
          </p:nvPr>
        </p:nvSpPr>
        <p:spPr>
          <a:xfrm>
            <a:off x="838200" y="365126"/>
            <a:ext cx="10515600" cy="315912"/>
          </a:xfrm>
        </p:spPr>
        <p:txBody>
          <a:bodyPr/>
          <a:lstStyle/>
          <a:p>
            <a:pPr algn="ctr"/>
            <a:r>
              <a:rPr lang="en-GB" dirty="0">
                <a:solidFill>
                  <a:schemeClr val="bg1"/>
                </a:solidFill>
                <a:latin typeface="Segoe UI"/>
                <a:cs typeface="Segoe UI"/>
              </a:rPr>
              <a:t>10 attributes of the typical target end state</a:t>
            </a:r>
            <a:endParaRPr lang="en-GB" dirty="0">
              <a:solidFill>
                <a:schemeClr val="bg1"/>
              </a:solidFill>
            </a:endParaRPr>
          </a:p>
        </p:txBody>
      </p:sp>
      <p:sp>
        <p:nvSpPr>
          <p:cNvPr id="22" name="Slide Number Placeholder 9">
            <a:extLst>
              <a:ext uri="{FF2B5EF4-FFF2-40B4-BE49-F238E27FC236}">
                <a16:creationId xmlns:a16="http://schemas.microsoft.com/office/drawing/2014/main" id="{F7306033-2655-46B6-AFC3-6BE5F822F1A5}"/>
              </a:ext>
            </a:extLst>
          </p:cNvPr>
          <p:cNvSpPr txBox="1">
            <a:spLocks/>
          </p:cNvSpPr>
          <p:nvPr/>
        </p:nvSpPr>
        <p:spPr>
          <a:xfrm>
            <a:off x="9238562" y="6356350"/>
            <a:ext cx="2743200" cy="365125"/>
          </a:xfrm>
          <a:prstGeom prst="rect">
            <a:avLst/>
          </a:prstGeom>
        </p:spPr>
        <p:txBody>
          <a:bodyPr vert="horz" lIns="91440" tIns="45720" rIns="91440" bIns="45720" rtlCol="0" anchor="ctr"/>
          <a:lstStyle>
            <a:defPPr>
              <a:defRPr lang="en-US"/>
            </a:defPPr>
            <a:lvl1pPr algn="r">
              <a:defRPr sz="1200">
                <a:solidFill>
                  <a:schemeClr val="tx2"/>
                </a:solidFill>
                <a:latin typeface="Tahoma" panose="020B0604030504040204" pitchFamily="34" charset="0"/>
                <a:ea typeface="Tahoma" panose="020B0604030504040204" pitchFamily="34" charset="0"/>
                <a:cs typeface="Tahom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887534-9256-4D4A-AB4E-4EBB84A560FF}" type="slidenum">
              <a:rPr lang="en-GB"/>
              <a:pPr/>
              <a:t>4</a:t>
            </a:fld>
            <a:endParaRPr lang="en-GB"/>
          </a:p>
        </p:txBody>
      </p:sp>
      <p:sp>
        <p:nvSpPr>
          <p:cNvPr id="4" name="TextBox 3">
            <a:extLst>
              <a:ext uri="{FF2B5EF4-FFF2-40B4-BE49-F238E27FC236}">
                <a16:creationId xmlns:a16="http://schemas.microsoft.com/office/drawing/2014/main" id="{A55A4178-FB8F-DAE4-AE5B-0EF54E3F458B}"/>
              </a:ext>
            </a:extLst>
          </p:cNvPr>
          <p:cNvSpPr txBox="1"/>
          <p:nvPr/>
        </p:nvSpPr>
        <p:spPr>
          <a:xfrm>
            <a:off x="696206" y="1055857"/>
            <a:ext cx="10637926" cy="4285789"/>
          </a:xfrm>
          <a:prstGeom prst="rect">
            <a:avLst/>
          </a:prstGeom>
          <a:noFill/>
        </p:spPr>
        <p:txBody>
          <a:bodyPr wrap="square" rtlCol="0">
            <a:spAutoFit/>
          </a:bodyPr>
          <a:lstStyle/>
          <a:p>
            <a:pPr marL="342900" indent="-342900">
              <a:spcBef>
                <a:spcPts val="1500"/>
              </a:spcBef>
              <a:buFont typeface="+mj-lt"/>
              <a:buAutoNum type="arabicPeriod"/>
            </a:pPr>
            <a:r>
              <a:rPr lang="en-GB" sz="1600" b="1" dirty="0">
                <a:solidFill>
                  <a:schemeClr val="bg1"/>
                </a:solidFill>
                <a:latin typeface="Tahoma" panose="020B0604030504040204" pitchFamily="34" charset="0"/>
                <a:ea typeface="Tahoma" panose="020B0604030504040204" pitchFamily="34" charset="0"/>
                <a:cs typeface="Tahoma" panose="020B0604030504040204" pitchFamily="34" charset="0"/>
              </a:rPr>
              <a:t>Capabilities </a:t>
            </a:r>
            <a:r>
              <a:rPr lang="en-GB" sz="1600" dirty="0">
                <a:solidFill>
                  <a:schemeClr val="bg1"/>
                </a:solidFill>
                <a:latin typeface="Tahoma" panose="020B0604030504040204" pitchFamily="34" charset="0"/>
                <a:ea typeface="Tahoma" panose="020B0604030504040204" pitchFamily="34" charset="0"/>
                <a:cs typeface="Tahoma" panose="020B0604030504040204" pitchFamily="34" charset="0"/>
              </a:rPr>
              <a:t>needed to deliver our strategy are crystal clear</a:t>
            </a:r>
          </a:p>
          <a:p>
            <a:pPr marL="342900" indent="-342900">
              <a:spcBef>
                <a:spcPts val="1500"/>
              </a:spcBef>
              <a:buFont typeface="+mj-lt"/>
              <a:buAutoNum type="arabicPeriod"/>
            </a:pPr>
            <a:r>
              <a:rPr lang="en-GB" sz="1600" b="1" dirty="0">
                <a:solidFill>
                  <a:schemeClr val="bg1"/>
                </a:solidFill>
                <a:latin typeface="Tahoma" panose="020B0604030504040204" pitchFamily="34" charset="0"/>
                <a:ea typeface="Tahoma" panose="020B0604030504040204" pitchFamily="34" charset="0"/>
                <a:cs typeface="Tahoma" panose="020B0604030504040204" pitchFamily="34" charset="0"/>
              </a:rPr>
              <a:t>Progression</a:t>
            </a:r>
            <a:r>
              <a:rPr lang="en-GB" sz="1600" dirty="0">
                <a:solidFill>
                  <a:schemeClr val="bg1"/>
                </a:solidFill>
                <a:latin typeface="Tahoma" panose="020B0604030504040204" pitchFamily="34" charset="0"/>
                <a:ea typeface="Tahoma" panose="020B0604030504040204" pitchFamily="34" charset="0"/>
                <a:cs typeface="Tahoma" panose="020B0604030504040204" pitchFamily="34" charset="0"/>
              </a:rPr>
              <a:t> through each capability, from Base to Master, is clearly defined</a:t>
            </a:r>
          </a:p>
          <a:p>
            <a:pPr marL="342900" indent="-342900">
              <a:spcBef>
                <a:spcPts val="1500"/>
              </a:spcBef>
              <a:buFont typeface="+mj-lt"/>
              <a:buAutoNum type="arabicPeriod"/>
            </a:pPr>
            <a:r>
              <a:rPr lang="en-GB" sz="1600" b="1" dirty="0">
                <a:solidFill>
                  <a:schemeClr val="bg1"/>
                </a:solidFill>
                <a:latin typeface="Tahoma" panose="020B0604030504040204" pitchFamily="34" charset="0"/>
                <a:ea typeface="Tahoma" panose="020B0604030504040204" pitchFamily="34" charset="0"/>
                <a:cs typeface="Tahoma" panose="020B0604030504040204" pitchFamily="34" charset="0"/>
              </a:rPr>
              <a:t>Expectations</a:t>
            </a:r>
            <a:r>
              <a:rPr lang="en-GB" sz="1600" dirty="0">
                <a:solidFill>
                  <a:schemeClr val="bg1"/>
                </a:solidFill>
                <a:latin typeface="Tahoma" panose="020B0604030504040204" pitchFamily="34" charset="0"/>
                <a:ea typeface="Tahoma" panose="020B0604030504040204" pitchFamily="34" charset="0"/>
                <a:cs typeface="Tahoma" panose="020B0604030504040204" pitchFamily="34" charset="0"/>
              </a:rPr>
              <a:t> of each role are clear to everyone</a:t>
            </a:r>
          </a:p>
          <a:p>
            <a:pPr marL="342900" indent="-342900">
              <a:spcBef>
                <a:spcPts val="1500"/>
              </a:spcBef>
              <a:buFont typeface="+mj-lt"/>
              <a:buAutoNum type="arabicPeriod"/>
            </a:pPr>
            <a:r>
              <a:rPr lang="en-GB" sz="1600" b="1" dirty="0">
                <a:solidFill>
                  <a:schemeClr val="bg1"/>
                </a:solidFill>
                <a:latin typeface="Tahoma" panose="020B0604030504040204" pitchFamily="34" charset="0"/>
                <a:ea typeface="Tahoma" panose="020B0604030504040204" pitchFamily="34" charset="0"/>
                <a:cs typeface="Tahoma" panose="020B0604030504040204" pitchFamily="34" charset="0"/>
              </a:rPr>
              <a:t>Career paths </a:t>
            </a:r>
            <a:r>
              <a:rPr lang="en-GB" sz="1600" dirty="0">
                <a:solidFill>
                  <a:schemeClr val="bg1"/>
                </a:solidFill>
                <a:latin typeface="Tahoma" panose="020B0604030504040204" pitchFamily="34" charset="0"/>
                <a:ea typeface="Tahoma" panose="020B0604030504040204" pitchFamily="34" charset="0"/>
                <a:cs typeface="Tahoma" panose="020B0604030504040204" pitchFamily="34" charset="0"/>
              </a:rPr>
              <a:t>are flexible, with individuals able to align their own interests with the firm’s</a:t>
            </a:r>
          </a:p>
          <a:p>
            <a:pPr marL="342900" indent="-342900">
              <a:spcBef>
                <a:spcPts val="1500"/>
              </a:spcBef>
              <a:buFont typeface="+mj-lt"/>
              <a:buAutoNum type="arabicPeriod"/>
            </a:pPr>
            <a:r>
              <a:rPr lang="en-GB" sz="1600" b="1" dirty="0">
                <a:solidFill>
                  <a:schemeClr val="bg1"/>
                </a:solidFill>
                <a:latin typeface="Tahoma" panose="020B0604030504040204" pitchFamily="34" charset="0"/>
                <a:ea typeface="Tahoma" panose="020B0604030504040204" pitchFamily="34" charset="0"/>
                <a:cs typeface="Tahoma" panose="020B0604030504040204" pitchFamily="34" charset="0"/>
              </a:rPr>
              <a:t>Performance review processes </a:t>
            </a:r>
            <a:r>
              <a:rPr lang="en-GB" sz="1600" dirty="0">
                <a:solidFill>
                  <a:schemeClr val="bg1"/>
                </a:solidFill>
                <a:latin typeface="Tahoma" panose="020B0604030504040204" pitchFamily="34" charset="0"/>
                <a:ea typeface="Tahoma" panose="020B0604030504040204" pitchFamily="34" charset="0"/>
                <a:cs typeface="Tahoma" panose="020B0604030504040204" pitchFamily="34" charset="0"/>
              </a:rPr>
              <a:t>are consistent, trusted, and drive decision making</a:t>
            </a:r>
          </a:p>
          <a:p>
            <a:pPr marL="342900" indent="-342900">
              <a:spcBef>
                <a:spcPts val="1500"/>
              </a:spcBef>
              <a:buFont typeface="+mj-lt"/>
              <a:buAutoNum type="arabicPeriod"/>
            </a:pPr>
            <a:r>
              <a:rPr lang="en-GB" sz="1600" b="1" dirty="0">
                <a:solidFill>
                  <a:schemeClr val="bg1"/>
                </a:solidFill>
                <a:latin typeface="Tahoma" panose="020B0604030504040204" pitchFamily="34" charset="0"/>
                <a:ea typeface="Tahoma" panose="020B0604030504040204" pitchFamily="34" charset="0"/>
                <a:cs typeface="Tahoma" panose="020B0604030504040204" pitchFamily="34" charset="0"/>
              </a:rPr>
              <a:t>Skill gaps </a:t>
            </a:r>
            <a:r>
              <a:rPr lang="en-GB" sz="1600" dirty="0">
                <a:solidFill>
                  <a:schemeClr val="bg1"/>
                </a:solidFill>
                <a:latin typeface="Tahoma" panose="020B0604030504040204" pitchFamily="34" charset="0"/>
                <a:ea typeface="Tahoma" panose="020B0604030504040204" pitchFamily="34" charset="0"/>
                <a:cs typeface="Tahoma" panose="020B0604030504040204" pitchFamily="34" charset="0"/>
              </a:rPr>
              <a:t>are regularly assessed at three levels – firm, peer group, and individual</a:t>
            </a:r>
          </a:p>
          <a:p>
            <a:pPr marL="342900" indent="-342900">
              <a:spcBef>
                <a:spcPts val="1500"/>
              </a:spcBef>
              <a:buFont typeface="+mj-lt"/>
              <a:buAutoNum type="arabicPeriod"/>
            </a:pPr>
            <a:r>
              <a:rPr lang="en-GB" sz="1600" b="1" dirty="0">
                <a:solidFill>
                  <a:schemeClr val="bg1"/>
                </a:solidFill>
                <a:latin typeface="Tahoma" panose="020B0604030504040204" pitchFamily="34" charset="0"/>
                <a:ea typeface="Tahoma" panose="020B0604030504040204" pitchFamily="34" charset="0"/>
                <a:cs typeface="Tahoma" panose="020B0604030504040204" pitchFamily="34" charset="0"/>
              </a:rPr>
              <a:t>We have a plan</a:t>
            </a:r>
            <a:r>
              <a:rPr lang="en-GB" sz="1600" dirty="0">
                <a:solidFill>
                  <a:schemeClr val="bg1"/>
                </a:solidFill>
                <a:latin typeface="Tahoma" panose="020B0604030504040204" pitchFamily="34" charset="0"/>
                <a:ea typeface="Tahoma" panose="020B0604030504040204" pitchFamily="34" charset="0"/>
                <a:cs typeface="Tahoma" panose="020B0604030504040204" pitchFamily="34" charset="0"/>
              </a:rPr>
              <a:t> to address skills gaps systematically - recruitment, on-the-job experience, coaching, training</a:t>
            </a:r>
          </a:p>
          <a:p>
            <a:pPr marL="342900" indent="-342900">
              <a:spcBef>
                <a:spcPts val="1500"/>
              </a:spcBef>
              <a:buFont typeface="+mj-lt"/>
              <a:buAutoNum type="arabicPeriod"/>
            </a:pPr>
            <a:r>
              <a:rPr lang="en-GB" sz="1600" b="1" dirty="0">
                <a:solidFill>
                  <a:schemeClr val="bg1"/>
                </a:solidFill>
                <a:latin typeface="Tahoma" panose="020B0604030504040204" pitchFamily="34" charset="0"/>
                <a:ea typeface="Tahoma" panose="020B0604030504040204" pitchFamily="34" charset="0"/>
                <a:cs typeface="Tahoma" panose="020B0604030504040204" pitchFamily="34" charset="0"/>
              </a:rPr>
              <a:t>Project allocations </a:t>
            </a:r>
            <a:r>
              <a:rPr lang="en-GB" sz="1600" dirty="0">
                <a:solidFill>
                  <a:schemeClr val="bg1"/>
                </a:solidFill>
                <a:latin typeface="Tahoma" panose="020B0604030504040204" pitchFamily="34" charset="0"/>
                <a:ea typeface="Tahoma" panose="020B0604030504040204" pitchFamily="34" charset="0"/>
                <a:cs typeface="Tahoma" panose="020B0604030504040204" pitchFamily="34" charset="0"/>
              </a:rPr>
              <a:t>processes / decision rights are clearly defined &amp; consider development needs</a:t>
            </a:r>
          </a:p>
          <a:p>
            <a:pPr marL="342900" indent="-342900">
              <a:spcBef>
                <a:spcPts val="1500"/>
              </a:spcBef>
              <a:buFont typeface="+mj-lt"/>
              <a:buAutoNum type="arabicPeriod"/>
            </a:pPr>
            <a:r>
              <a:rPr lang="en-GB" sz="1600" b="1" dirty="0">
                <a:solidFill>
                  <a:schemeClr val="bg1"/>
                </a:solidFill>
                <a:latin typeface="Tahoma" panose="020B0604030504040204" pitchFamily="34" charset="0"/>
                <a:ea typeface="Tahoma" panose="020B0604030504040204" pitchFamily="34" charset="0"/>
                <a:cs typeface="Tahoma" panose="020B0604030504040204" pitchFamily="34" charset="0"/>
              </a:rPr>
              <a:t>Coaching</a:t>
            </a:r>
            <a:r>
              <a:rPr lang="en-GB" sz="1600" dirty="0">
                <a:solidFill>
                  <a:schemeClr val="bg1"/>
                </a:solidFill>
                <a:latin typeface="Tahoma" panose="020B0604030504040204" pitchFamily="34" charset="0"/>
                <a:ea typeface="Tahoma" panose="020B0604030504040204" pitchFamily="34" charset="0"/>
                <a:cs typeface="Tahoma" panose="020B0604030504040204" pitchFamily="34" charset="0"/>
              </a:rPr>
              <a:t> is part of our DNA and drives on-the-job development</a:t>
            </a:r>
          </a:p>
          <a:p>
            <a:pPr marL="342900" indent="-342900">
              <a:spcBef>
                <a:spcPts val="1500"/>
              </a:spcBef>
              <a:buFont typeface="+mj-lt"/>
              <a:buAutoNum type="arabicPeriod"/>
            </a:pPr>
            <a:r>
              <a:rPr lang="en-GB" sz="1600" b="1" dirty="0">
                <a:solidFill>
                  <a:schemeClr val="bg1"/>
                </a:solidFill>
                <a:latin typeface="Tahoma" panose="020B0604030504040204" pitchFamily="34" charset="0"/>
                <a:ea typeface="Tahoma" panose="020B0604030504040204" pitchFamily="34" charset="0"/>
                <a:cs typeface="Tahoma" panose="020B0604030504040204" pitchFamily="34" charset="0"/>
              </a:rPr>
              <a:t>Training</a:t>
            </a:r>
            <a:r>
              <a:rPr lang="en-GB" sz="1600" dirty="0">
                <a:solidFill>
                  <a:schemeClr val="bg1"/>
                </a:solidFill>
                <a:latin typeface="Tahoma" panose="020B0604030504040204" pitchFamily="34" charset="0"/>
                <a:ea typeface="Tahoma" panose="020B0604030504040204" pitchFamily="34" charset="0"/>
                <a:cs typeface="Tahoma" panose="020B0604030504040204" pitchFamily="34" charset="0"/>
              </a:rPr>
              <a:t> curricula and annual calendars are clear for each peer group</a:t>
            </a:r>
          </a:p>
        </p:txBody>
      </p:sp>
      <p:sp>
        <p:nvSpPr>
          <p:cNvPr id="5" name="Arrow: Down 4">
            <a:extLst>
              <a:ext uri="{FF2B5EF4-FFF2-40B4-BE49-F238E27FC236}">
                <a16:creationId xmlns:a16="http://schemas.microsoft.com/office/drawing/2014/main" id="{7F564235-149E-2631-03BD-48CC1A0428AB}"/>
              </a:ext>
            </a:extLst>
          </p:cNvPr>
          <p:cNvSpPr/>
          <p:nvPr/>
        </p:nvSpPr>
        <p:spPr>
          <a:xfrm>
            <a:off x="5394629" y="5416062"/>
            <a:ext cx="1024932" cy="311498"/>
          </a:xfrm>
          <a:prstGeom prst="downArrow">
            <a:avLst>
              <a:gd name="adj1" fmla="val 50000"/>
              <a:gd name="adj2" fmla="val 100000"/>
            </a:avLst>
          </a:prstGeom>
          <a:solidFill>
            <a:schemeClr val="accent2"/>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Box 5">
            <a:extLst>
              <a:ext uri="{FF2B5EF4-FFF2-40B4-BE49-F238E27FC236}">
                <a16:creationId xmlns:a16="http://schemas.microsoft.com/office/drawing/2014/main" id="{BF7E0F9C-51DC-FA86-1DC7-CBF8C5D3FF65}"/>
              </a:ext>
            </a:extLst>
          </p:cNvPr>
          <p:cNvSpPr txBox="1"/>
          <p:nvPr/>
        </p:nvSpPr>
        <p:spPr>
          <a:xfrm>
            <a:off x="2280976" y="5818759"/>
            <a:ext cx="7252238" cy="738664"/>
          </a:xfrm>
          <a:prstGeom prst="rect">
            <a:avLst/>
          </a:prstGeom>
          <a:solidFill>
            <a:schemeClr val="accent2">
              <a:lumMod val="20000"/>
              <a:lumOff val="80000"/>
            </a:schemeClr>
          </a:solidFill>
        </p:spPr>
        <p:txBody>
          <a:bodyPr wrap="square" rtlCol="0">
            <a:spAutoFit/>
          </a:bodyPr>
          <a:lstStyle/>
          <a:p>
            <a:pPr algn="ctr">
              <a:spcBef>
                <a:spcPts val="1200"/>
              </a:spcBef>
            </a:pPr>
            <a:r>
              <a:rPr lang="en-GB" sz="1600" b="1" dirty="0">
                <a:latin typeface="Tahoma" panose="020B0604030504040204" pitchFamily="34" charset="0"/>
                <a:ea typeface="Tahoma" panose="020B0604030504040204" pitchFamily="34" charset="0"/>
                <a:cs typeface="Tahoma" panose="020B0604030504040204" pitchFamily="34" charset="0"/>
              </a:rPr>
              <a:t>We consider these attributes in defining </a:t>
            </a:r>
            <a:r>
              <a:rPr lang="en-GB" sz="1600" b="1" u="sng" dirty="0">
                <a:latin typeface="Tahoma" panose="020B0604030504040204" pitchFamily="34" charset="0"/>
                <a:ea typeface="Tahoma" panose="020B0604030504040204" pitchFamily="34" charset="0"/>
                <a:cs typeface="Tahoma" panose="020B0604030504040204" pitchFamily="34" charset="0"/>
              </a:rPr>
              <a:t>your</a:t>
            </a:r>
            <a:r>
              <a:rPr lang="en-GB" sz="1600" b="1" dirty="0">
                <a:latin typeface="Tahoma" panose="020B0604030504040204" pitchFamily="34" charset="0"/>
                <a:ea typeface="Tahoma" panose="020B0604030504040204" pitchFamily="34" charset="0"/>
                <a:cs typeface="Tahoma" panose="020B0604030504040204" pitchFamily="34" charset="0"/>
              </a:rPr>
              <a:t> target end state</a:t>
            </a:r>
          </a:p>
          <a:p>
            <a:pPr algn="ctr">
              <a:spcBef>
                <a:spcPts val="1200"/>
              </a:spcBef>
            </a:pPr>
            <a:r>
              <a:rPr lang="en-GB" sz="1600" i="1" dirty="0">
                <a:latin typeface="Tahoma" panose="020B0604030504040204" pitchFamily="34" charset="0"/>
                <a:ea typeface="Tahoma" panose="020B0604030504040204" pitchFamily="34" charset="0"/>
                <a:cs typeface="Tahoma" panose="020B0604030504040204" pitchFamily="34" charset="0"/>
              </a:rPr>
              <a:t>Which are most important to you? Where are improvements needed?</a:t>
            </a:r>
            <a:endParaRPr lang="en-GB" sz="1600" i="1" u="sng"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6656238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11DE4DD4-1A80-AD61-A90B-B303B4BC39F1}"/>
              </a:ext>
            </a:extLst>
          </p:cNvPr>
          <p:cNvSpPr txBox="1"/>
          <p:nvPr/>
        </p:nvSpPr>
        <p:spPr>
          <a:xfrm>
            <a:off x="1933303" y="6139661"/>
            <a:ext cx="8325394" cy="584775"/>
          </a:xfrm>
          <a:prstGeom prst="rect">
            <a:avLst/>
          </a:prstGeom>
          <a:noFill/>
        </p:spPr>
        <p:txBody>
          <a:bodyPr wrap="square">
            <a:spAutoFit/>
          </a:bodyPr>
          <a:lstStyle/>
          <a:p>
            <a:pPr algn="ctr"/>
            <a:r>
              <a:rPr lang="en-GB" sz="1600" i="1" dirty="0">
                <a:latin typeface="Tahoma" panose="020B0604030504040204" pitchFamily="34" charset="0"/>
                <a:ea typeface="Tahoma" panose="020B0604030504040204" pitchFamily="34" charset="0"/>
                <a:cs typeface="Tahoma" panose="020B0604030504040204" pitchFamily="34" charset="0"/>
              </a:rPr>
              <a:t>See more detail on the Honeycomb approach to Training Curriculum Design: </a:t>
            </a:r>
            <a:r>
              <a:rPr lang="en-GB" sz="1600" i="1" dirty="0">
                <a:latin typeface="Tahoma" panose="020B0604030504040204" pitchFamily="34" charset="0"/>
                <a:ea typeface="Tahoma" panose="020B0604030504040204" pitchFamily="34" charset="0"/>
                <a:cs typeface="Tahoma" panose="020B0604030504040204" pitchFamily="34" charset="0"/>
                <a:hlinkClick r:id="rId2"/>
              </a:rPr>
              <a:t>https://app.klaxoon.com/join/YPGNWYT</a:t>
            </a:r>
            <a:r>
              <a:rPr lang="en-GB" sz="1600" i="1" dirty="0">
                <a:latin typeface="Tahoma" panose="020B0604030504040204" pitchFamily="34" charset="0"/>
                <a:ea typeface="Tahoma" panose="020B0604030504040204" pitchFamily="34" charset="0"/>
                <a:cs typeface="Tahoma" panose="020B0604030504040204" pitchFamily="34" charset="0"/>
              </a:rPr>
              <a:t> </a:t>
            </a:r>
          </a:p>
        </p:txBody>
      </p:sp>
      <p:sp>
        <p:nvSpPr>
          <p:cNvPr id="8" name="Title 4">
            <a:extLst>
              <a:ext uri="{FF2B5EF4-FFF2-40B4-BE49-F238E27FC236}">
                <a16:creationId xmlns:a16="http://schemas.microsoft.com/office/drawing/2014/main" id="{1355E1FA-4208-5D18-8D6C-1CCA2A52B95B}"/>
              </a:ext>
            </a:extLst>
          </p:cNvPr>
          <p:cNvSpPr>
            <a:spLocks noGrp="1"/>
          </p:cNvSpPr>
          <p:nvPr>
            <p:ph type="title"/>
          </p:nvPr>
        </p:nvSpPr>
        <p:spPr>
          <a:xfrm>
            <a:off x="480926" y="303783"/>
            <a:ext cx="11010858" cy="443198"/>
          </a:xfrm>
        </p:spPr>
        <p:txBody>
          <a:bodyPr vert="horz" lIns="91440" tIns="45720" rIns="91440" bIns="45720" rtlCol="0" anchor="ctr">
            <a:noAutofit/>
          </a:bodyPr>
          <a:lstStyle/>
          <a:p>
            <a:r>
              <a:rPr lang="en-GB" sz="2800" dirty="0">
                <a:latin typeface="Segoe UI"/>
                <a:ea typeface="+mj-ea"/>
                <a:cs typeface="Segoe UI"/>
              </a:rPr>
              <a:t>Training curriculum design is a complex set of decisions</a:t>
            </a:r>
          </a:p>
        </p:txBody>
      </p:sp>
      <p:sp>
        <p:nvSpPr>
          <p:cNvPr id="2" name="Arrow: Pentagon 1">
            <a:extLst>
              <a:ext uri="{FF2B5EF4-FFF2-40B4-BE49-F238E27FC236}">
                <a16:creationId xmlns:a16="http://schemas.microsoft.com/office/drawing/2014/main" id="{8840535D-1D69-3394-EC7F-842425BC9234}"/>
              </a:ext>
            </a:extLst>
          </p:cNvPr>
          <p:cNvSpPr/>
          <p:nvPr/>
        </p:nvSpPr>
        <p:spPr>
          <a:xfrm>
            <a:off x="506764" y="1351981"/>
            <a:ext cx="2266916" cy="746522"/>
          </a:xfrm>
          <a:prstGeom prst="homePlate">
            <a:avLst/>
          </a:prstGeom>
          <a:solidFill>
            <a:schemeClr val="tx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1" dirty="0">
                <a:latin typeface="Tahoma" panose="020B0604030504040204" pitchFamily="34" charset="0"/>
                <a:ea typeface="Tahoma" panose="020B0604030504040204" pitchFamily="34" charset="0"/>
                <a:cs typeface="Tahoma" panose="020B0604030504040204" pitchFamily="34" charset="0"/>
              </a:rPr>
              <a:t>Who?</a:t>
            </a:r>
          </a:p>
        </p:txBody>
      </p:sp>
      <p:sp>
        <p:nvSpPr>
          <p:cNvPr id="4" name="Arrow: Pentagon 3">
            <a:extLst>
              <a:ext uri="{FF2B5EF4-FFF2-40B4-BE49-F238E27FC236}">
                <a16:creationId xmlns:a16="http://schemas.microsoft.com/office/drawing/2014/main" id="{1FE3989F-A91C-F730-2637-7188CAC5767B}"/>
              </a:ext>
            </a:extLst>
          </p:cNvPr>
          <p:cNvSpPr/>
          <p:nvPr/>
        </p:nvSpPr>
        <p:spPr>
          <a:xfrm>
            <a:off x="506764" y="2498214"/>
            <a:ext cx="2266916" cy="746522"/>
          </a:xfrm>
          <a:prstGeom prst="homePlate">
            <a:avLst/>
          </a:prstGeom>
          <a:solidFill>
            <a:schemeClr val="tx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1" dirty="0">
                <a:latin typeface="Tahoma" panose="020B0604030504040204" pitchFamily="34" charset="0"/>
                <a:ea typeface="Tahoma" panose="020B0604030504040204" pitchFamily="34" charset="0"/>
                <a:cs typeface="Tahoma" panose="020B0604030504040204" pitchFamily="34" charset="0"/>
              </a:rPr>
              <a:t>What?</a:t>
            </a:r>
          </a:p>
        </p:txBody>
      </p:sp>
      <p:sp>
        <p:nvSpPr>
          <p:cNvPr id="5" name="Arrow: Pentagon 4">
            <a:extLst>
              <a:ext uri="{FF2B5EF4-FFF2-40B4-BE49-F238E27FC236}">
                <a16:creationId xmlns:a16="http://schemas.microsoft.com/office/drawing/2014/main" id="{D00DBAD9-342B-137A-6FEC-7E04687AB66F}"/>
              </a:ext>
            </a:extLst>
          </p:cNvPr>
          <p:cNvSpPr/>
          <p:nvPr/>
        </p:nvSpPr>
        <p:spPr>
          <a:xfrm>
            <a:off x="506764" y="4785598"/>
            <a:ext cx="2266916" cy="746522"/>
          </a:xfrm>
          <a:prstGeom prst="homePlate">
            <a:avLst/>
          </a:prstGeom>
          <a:solidFill>
            <a:schemeClr val="tx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1" dirty="0">
                <a:latin typeface="Tahoma" panose="020B0604030504040204" pitchFamily="34" charset="0"/>
                <a:ea typeface="Tahoma" panose="020B0604030504040204" pitchFamily="34" charset="0"/>
                <a:cs typeface="Tahoma" panose="020B0604030504040204" pitchFamily="34" charset="0"/>
              </a:rPr>
              <a:t>How?</a:t>
            </a:r>
          </a:p>
        </p:txBody>
      </p:sp>
      <p:sp>
        <p:nvSpPr>
          <p:cNvPr id="6" name="Arrow: Pentagon 5">
            <a:extLst>
              <a:ext uri="{FF2B5EF4-FFF2-40B4-BE49-F238E27FC236}">
                <a16:creationId xmlns:a16="http://schemas.microsoft.com/office/drawing/2014/main" id="{B267365E-D3FE-8B17-8284-9AF97DED41DA}"/>
              </a:ext>
            </a:extLst>
          </p:cNvPr>
          <p:cNvSpPr/>
          <p:nvPr/>
        </p:nvSpPr>
        <p:spPr>
          <a:xfrm>
            <a:off x="506764" y="3641906"/>
            <a:ext cx="2266916" cy="746522"/>
          </a:xfrm>
          <a:prstGeom prst="homePlate">
            <a:avLst/>
          </a:prstGeom>
          <a:solidFill>
            <a:schemeClr val="tx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1" dirty="0">
                <a:latin typeface="Tahoma" panose="020B0604030504040204" pitchFamily="34" charset="0"/>
                <a:ea typeface="Tahoma" panose="020B0604030504040204" pitchFamily="34" charset="0"/>
                <a:cs typeface="Tahoma" panose="020B0604030504040204" pitchFamily="34" charset="0"/>
              </a:rPr>
              <a:t>When?</a:t>
            </a:r>
          </a:p>
        </p:txBody>
      </p:sp>
      <p:sp>
        <p:nvSpPr>
          <p:cNvPr id="9" name="Rectangle 8">
            <a:extLst>
              <a:ext uri="{FF2B5EF4-FFF2-40B4-BE49-F238E27FC236}">
                <a16:creationId xmlns:a16="http://schemas.microsoft.com/office/drawing/2014/main" id="{F3BB3000-BB65-4E6A-DB7A-26E8926FAB97}"/>
              </a:ext>
            </a:extLst>
          </p:cNvPr>
          <p:cNvSpPr/>
          <p:nvPr/>
        </p:nvSpPr>
        <p:spPr>
          <a:xfrm>
            <a:off x="3121840" y="1349442"/>
            <a:ext cx="1951301" cy="746522"/>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i="1" dirty="0">
                <a:solidFill>
                  <a:schemeClr val="tx1"/>
                </a:solidFill>
                <a:latin typeface="Tahoma" panose="020B0604030504040204" pitchFamily="34" charset="0"/>
                <a:ea typeface="Tahoma" panose="020B0604030504040204" pitchFamily="34" charset="0"/>
                <a:cs typeface="Tahoma" panose="020B0604030504040204" pitchFamily="34" charset="0"/>
              </a:rPr>
              <a:t>Roles &amp; Seniority</a:t>
            </a:r>
          </a:p>
        </p:txBody>
      </p:sp>
      <p:sp>
        <p:nvSpPr>
          <p:cNvPr id="10" name="Rectangle 9">
            <a:extLst>
              <a:ext uri="{FF2B5EF4-FFF2-40B4-BE49-F238E27FC236}">
                <a16:creationId xmlns:a16="http://schemas.microsoft.com/office/drawing/2014/main" id="{DDC1E139-0923-B652-640C-7A09A92352BB}"/>
              </a:ext>
            </a:extLst>
          </p:cNvPr>
          <p:cNvSpPr/>
          <p:nvPr/>
        </p:nvSpPr>
        <p:spPr>
          <a:xfrm>
            <a:off x="3121840" y="2495674"/>
            <a:ext cx="1951301" cy="746522"/>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i="1" dirty="0">
                <a:solidFill>
                  <a:schemeClr val="tx1"/>
                </a:solidFill>
                <a:latin typeface="Tahoma" panose="020B0604030504040204" pitchFamily="34" charset="0"/>
                <a:ea typeface="Tahoma" panose="020B0604030504040204" pitchFamily="34" charset="0"/>
                <a:cs typeface="Tahoma" panose="020B0604030504040204" pitchFamily="34" charset="0"/>
              </a:rPr>
              <a:t>Skills &amp; Behaviours</a:t>
            </a:r>
          </a:p>
        </p:txBody>
      </p:sp>
      <p:sp>
        <p:nvSpPr>
          <p:cNvPr id="15" name="Rectangle 14">
            <a:extLst>
              <a:ext uri="{FF2B5EF4-FFF2-40B4-BE49-F238E27FC236}">
                <a16:creationId xmlns:a16="http://schemas.microsoft.com/office/drawing/2014/main" id="{CEA4F3FC-9ABF-E392-5328-BF744BEAD0E2}"/>
              </a:ext>
            </a:extLst>
          </p:cNvPr>
          <p:cNvSpPr/>
          <p:nvPr/>
        </p:nvSpPr>
        <p:spPr>
          <a:xfrm>
            <a:off x="3121840" y="4785598"/>
            <a:ext cx="1951301" cy="746522"/>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600" i="1">
                <a:solidFill>
                  <a:schemeClr val="tx1"/>
                </a:solidFill>
                <a:latin typeface="Tahoma"/>
                <a:ea typeface="Tahoma"/>
                <a:cs typeface="Tahoma"/>
              </a:rPr>
              <a:t>Delivery </a:t>
            </a:r>
            <a:br>
              <a:rPr lang="en-GB" sz="1600" i="1">
                <a:latin typeface="Tahoma" panose="020B0604030504040204" pitchFamily="34" charset="0"/>
                <a:ea typeface="Tahoma" panose="020B0604030504040204" pitchFamily="34" charset="0"/>
                <a:cs typeface="Tahoma" panose="020B0604030504040204" pitchFamily="34" charset="0"/>
              </a:rPr>
            </a:br>
            <a:r>
              <a:rPr lang="en-GB" sz="1600" i="1">
                <a:solidFill>
                  <a:schemeClr val="tx1"/>
                </a:solidFill>
                <a:latin typeface="Tahoma"/>
                <a:ea typeface="Tahoma"/>
                <a:cs typeface="Tahoma"/>
              </a:rPr>
              <a:t>Types</a:t>
            </a:r>
            <a:endParaRPr lang="en-GB" sz="1600" i="1"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16" name="Rectangle 15">
            <a:extLst>
              <a:ext uri="{FF2B5EF4-FFF2-40B4-BE49-F238E27FC236}">
                <a16:creationId xmlns:a16="http://schemas.microsoft.com/office/drawing/2014/main" id="{ECC09ACE-FC11-1B81-5212-F7A361534C78}"/>
              </a:ext>
            </a:extLst>
          </p:cNvPr>
          <p:cNvSpPr/>
          <p:nvPr/>
        </p:nvSpPr>
        <p:spPr>
          <a:xfrm>
            <a:off x="5204986" y="4785598"/>
            <a:ext cx="1951301" cy="746522"/>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i="1" dirty="0">
                <a:solidFill>
                  <a:schemeClr val="tx1"/>
                </a:solidFill>
                <a:latin typeface="Tahoma" panose="020B0604030504040204" pitchFamily="34" charset="0"/>
                <a:ea typeface="Tahoma" panose="020B0604030504040204" pitchFamily="34" charset="0"/>
                <a:cs typeface="Tahoma" panose="020B0604030504040204" pitchFamily="34" charset="0"/>
              </a:rPr>
              <a:t>Instructional Strategies</a:t>
            </a:r>
          </a:p>
        </p:txBody>
      </p:sp>
      <p:sp>
        <p:nvSpPr>
          <p:cNvPr id="17" name="Rectangle 16">
            <a:extLst>
              <a:ext uri="{FF2B5EF4-FFF2-40B4-BE49-F238E27FC236}">
                <a16:creationId xmlns:a16="http://schemas.microsoft.com/office/drawing/2014/main" id="{556849AA-1356-DAC5-4B26-D46C2A5D9776}"/>
              </a:ext>
            </a:extLst>
          </p:cNvPr>
          <p:cNvSpPr/>
          <p:nvPr/>
        </p:nvSpPr>
        <p:spPr>
          <a:xfrm>
            <a:off x="7288132" y="4785598"/>
            <a:ext cx="1951301" cy="746522"/>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i="1" dirty="0">
                <a:solidFill>
                  <a:schemeClr val="tx1"/>
                </a:solidFill>
                <a:latin typeface="Tahoma" panose="020B0604030504040204" pitchFamily="34" charset="0"/>
                <a:ea typeface="Tahoma" panose="020B0604030504040204" pitchFamily="34" charset="0"/>
                <a:cs typeface="Tahoma" panose="020B0604030504040204" pitchFamily="34" charset="0"/>
              </a:rPr>
              <a:t>Content Formats</a:t>
            </a:r>
          </a:p>
        </p:txBody>
      </p:sp>
      <p:sp>
        <p:nvSpPr>
          <p:cNvPr id="18" name="Rectangle 17">
            <a:extLst>
              <a:ext uri="{FF2B5EF4-FFF2-40B4-BE49-F238E27FC236}">
                <a16:creationId xmlns:a16="http://schemas.microsoft.com/office/drawing/2014/main" id="{CE9A606A-B415-732A-81FB-4B58B2ABD63E}"/>
              </a:ext>
            </a:extLst>
          </p:cNvPr>
          <p:cNvSpPr/>
          <p:nvPr/>
        </p:nvSpPr>
        <p:spPr>
          <a:xfrm>
            <a:off x="9371279" y="4785598"/>
            <a:ext cx="1951301" cy="746522"/>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i="1" dirty="0">
                <a:solidFill>
                  <a:schemeClr val="tx1"/>
                </a:solidFill>
                <a:latin typeface="Tahoma" panose="020B0604030504040204" pitchFamily="34" charset="0"/>
                <a:ea typeface="Tahoma" panose="020B0604030504040204" pitchFamily="34" charset="0"/>
                <a:cs typeface="Tahoma" panose="020B0604030504040204" pitchFamily="34" charset="0"/>
              </a:rPr>
              <a:t>Trainers</a:t>
            </a:r>
          </a:p>
        </p:txBody>
      </p:sp>
      <p:sp>
        <p:nvSpPr>
          <p:cNvPr id="19" name="Rectangle 18">
            <a:extLst>
              <a:ext uri="{FF2B5EF4-FFF2-40B4-BE49-F238E27FC236}">
                <a16:creationId xmlns:a16="http://schemas.microsoft.com/office/drawing/2014/main" id="{01D93B38-59FC-0849-0262-C92C87DFF83D}"/>
              </a:ext>
            </a:extLst>
          </p:cNvPr>
          <p:cNvSpPr/>
          <p:nvPr/>
        </p:nvSpPr>
        <p:spPr>
          <a:xfrm>
            <a:off x="3121840" y="3641906"/>
            <a:ext cx="1951301" cy="746522"/>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i="1" dirty="0">
                <a:solidFill>
                  <a:schemeClr val="tx1"/>
                </a:solidFill>
                <a:latin typeface="Tahoma" panose="020B0604030504040204" pitchFamily="34" charset="0"/>
                <a:ea typeface="Tahoma" panose="020B0604030504040204" pitchFamily="34" charset="0"/>
                <a:cs typeface="Tahoma" panose="020B0604030504040204" pitchFamily="34" charset="0"/>
              </a:rPr>
              <a:t>Career</a:t>
            </a:r>
          </a:p>
        </p:txBody>
      </p:sp>
      <p:sp>
        <p:nvSpPr>
          <p:cNvPr id="20" name="Rectangle 19">
            <a:extLst>
              <a:ext uri="{FF2B5EF4-FFF2-40B4-BE49-F238E27FC236}">
                <a16:creationId xmlns:a16="http://schemas.microsoft.com/office/drawing/2014/main" id="{B72E4CF2-FA94-2C06-CD4B-E3D91416AABA}"/>
              </a:ext>
            </a:extLst>
          </p:cNvPr>
          <p:cNvSpPr/>
          <p:nvPr/>
        </p:nvSpPr>
        <p:spPr>
          <a:xfrm>
            <a:off x="5204986" y="3641906"/>
            <a:ext cx="1951301" cy="746522"/>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i="1" dirty="0">
                <a:solidFill>
                  <a:schemeClr val="tx1"/>
                </a:solidFill>
                <a:latin typeface="Tahoma" panose="020B0604030504040204" pitchFamily="34" charset="0"/>
                <a:ea typeface="Tahoma" panose="020B0604030504040204" pitchFamily="34" charset="0"/>
                <a:cs typeface="Tahoma" panose="020B0604030504040204" pitchFamily="34" charset="0"/>
              </a:rPr>
              <a:t>Calendar</a:t>
            </a:r>
          </a:p>
        </p:txBody>
      </p:sp>
      <p:sp>
        <p:nvSpPr>
          <p:cNvPr id="21" name="Rectangle 20">
            <a:extLst>
              <a:ext uri="{FF2B5EF4-FFF2-40B4-BE49-F238E27FC236}">
                <a16:creationId xmlns:a16="http://schemas.microsoft.com/office/drawing/2014/main" id="{79F11E50-A8A3-FCAA-910C-CD47EB19D742}"/>
              </a:ext>
            </a:extLst>
          </p:cNvPr>
          <p:cNvSpPr/>
          <p:nvPr/>
        </p:nvSpPr>
        <p:spPr>
          <a:xfrm>
            <a:off x="7288132" y="3641906"/>
            <a:ext cx="1951301" cy="746522"/>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i="1" dirty="0">
                <a:solidFill>
                  <a:schemeClr val="tx1"/>
                </a:solidFill>
                <a:latin typeface="Tahoma" panose="020B0604030504040204" pitchFamily="34" charset="0"/>
                <a:ea typeface="Tahoma" panose="020B0604030504040204" pitchFamily="34" charset="0"/>
                <a:cs typeface="Tahoma" panose="020B0604030504040204" pitchFamily="34" charset="0"/>
              </a:rPr>
              <a:t>Capacity</a:t>
            </a:r>
          </a:p>
        </p:txBody>
      </p:sp>
    </p:spTree>
    <p:extLst>
      <p:ext uri="{BB962C8B-B14F-4D97-AF65-F5344CB8AC3E}">
        <p14:creationId xmlns:p14="http://schemas.microsoft.com/office/powerpoint/2010/main" val="16114469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4">
            <a:extLst>
              <a:ext uri="{FF2B5EF4-FFF2-40B4-BE49-F238E27FC236}">
                <a16:creationId xmlns:a16="http://schemas.microsoft.com/office/drawing/2014/main" id="{1355E1FA-4208-5D18-8D6C-1CCA2A52B95B}"/>
              </a:ext>
            </a:extLst>
          </p:cNvPr>
          <p:cNvSpPr>
            <a:spLocks noGrp="1"/>
          </p:cNvSpPr>
          <p:nvPr>
            <p:ph type="title"/>
          </p:nvPr>
        </p:nvSpPr>
        <p:spPr>
          <a:xfrm>
            <a:off x="480926" y="303783"/>
            <a:ext cx="11010858" cy="443198"/>
          </a:xfrm>
        </p:spPr>
        <p:txBody>
          <a:bodyPr vert="horz" lIns="91440" tIns="45720" rIns="91440" bIns="45720" rtlCol="0" anchor="ctr">
            <a:noAutofit/>
          </a:bodyPr>
          <a:lstStyle/>
          <a:p>
            <a:r>
              <a:rPr lang="en-GB" sz="2800" dirty="0">
                <a:latin typeface="Segoe UI"/>
                <a:ea typeface="+mj-ea"/>
                <a:cs typeface="Segoe UI"/>
              </a:rPr>
              <a:t>Target outputs: What we understand you need</a:t>
            </a:r>
          </a:p>
        </p:txBody>
      </p:sp>
      <p:sp>
        <p:nvSpPr>
          <p:cNvPr id="2" name="Arrow: Pentagon 1">
            <a:extLst>
              <a:ext uri="{FF2B5EF4-FFF2-40B4-BE49-F238E27FC236}">
                <a16:creationId xmlns:a16="http://schemas.microsoft.com/office/drawing/2014/main" id="{8840535D-1D69-3394-EC7F-842425BC9234}"/>
              </a:ext>
            </a:extLst>
          </p:cNvPr>
          <p:cNvSpPr/>
          <p:nvPr/>
        </p:nvSpPr>
        <p:spPr>
          <a:xfrm>
            <a:off x="506764" y="1351981"/>
            <a:ext cx="2266916" cy="746522"/>
          </a:xfrm>
          <a:prstGeom prst="homePlate">
            <a:avLst/>
          </a:prstGeom>
          <a:solidFill>
            <a:schemeClr val="tx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1" dirty="0">
                <a:latin typeface="Tahoma" panose="020B0604030504040204" pitchFamily="34" charset="0"/>
                <a:ea typeface="Tahoma" panose="020B0604030504040204" pitchFamily="34" charset="0"/>
                <a:cs typeface="Tahoma" panose="020B0604030504040204" pitchFamily="34" charset="0"/>
              </a:rPr>
              <a:t>Who?</a:t>
            </a:r>
          </a:p>
        </p:txBody>
      </p:sp>
      <p:sp>
        <p:nvSpPr>
          <p:cNvPr id="4" name="Arrow: Pentagon 3">
            <a:extLst>
              <a:ext uri="{FF2B5EF4-FFF2-40B4-BE49-F238E27FC236}">
                <a16:creationId xmlns:a16="http://schemas.microsoft.com/office/drawing/2014/main" id="{1FE3989F-A91C-F730-2637-7188CAC5767B}"/>
              </a:ext>
            </a:extLst>
          </p:cNvPr>
          <p:cNvSpPr/>
          <p:nvPr/>
        </p:nvSpPr>
        <p:spPr>
          <a:xfrm>
            <a:off x="506764" y="2498214"/>
            <a:ext cx="2266916" cy="746522"/>
          </a:xfrm>
          <a:prstGeom prst="homePlate">
            <a:avLst/>
          </a:prstGeom>
          <a:solidFill>
            <a:schemeClr val="tx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1" dirty="0">
                <a:latin typeface="Tahoma" panose="020B0604030504040204" pitchFamily="34" charset="0"/>
                <a:ea typeface="Tahoma" panose="020B0604030504040204" pitchFamily="34" charset="0"/>
                <a:cs typeface="Tahoma" panose="020B0604030504040204" pitchFamily="34" charset="0"/>
              </a:rPr>
              <a:t>What?</a:t>
            </a:r>
          </a:p>
        </p:txBody>
      </p:sp>
      <p:sp>
        <p:nvSpPr>
          <p:cNvPr id="5" name="Arrow: Pentagon 4">
            <a:extLst>
              <a:ext uri="{FF2B5EF4-FFF2-40B4-BE49-F238E27FC236}">
                <a16:creationId xmlns:a16="http://schemas.microsoft.com/office/drawing/2014/main" id="{D00DBAD9-342B-137A-6FEC-7E04687AB66F}"/>
              </a:ext>
            </a:extLst>
          </p:cNvPr>
          <p:cNvSpPr/>
          <p:nvPr/>
        </p:nvSpPr>
        <p:spPr>
          <a:xfrm>
            <a:off x="506764" y="4785598"/>
            <a:ext cx="2266916" cy="746522"/>
          </a:xfrm>
          <a:prstGeom prst="homePlate">
            <a:avLst/>
          </a:prstGeom>
          <a:solidFill>
            <a:schemeClr val="tx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1" dirty="0">
                <a:latin typeface="Tahoma" panose="020B0604030504040204" pitchFamily="34" charset="0"/>
                <a:ea typeface="Tahoma" panose="020B0604030504040204" pitchFamily="34" charset="0"/>
                <a:cs typeface="Tahoma" panose="020B0604030504040204" pitchFamily="34" charset="0"/>
              </a:rPr>
              <a:t>How?</a:t>
            </a:r>
          </a:p>
        </p:txBody>
      </p:sp>
      <p:sp>
        <p:nvSpPr>
          <p:cNvPr id="6" name="Arrow: Pentagon 5">
            <a:extLst>
              <a:ext uri="{FF2B5EF4-FFF2-40B4-BE49-F238E27FC236}">
                <a16:creationId xmlns:a16="http://schemas.microsoft.com/office/drawing/2014/main" id="{B267365E-D3FE-8B17-8284-9AF97DED41DA}"/>
              </a:ext>
            </a:extLst>
          </p:cNvPr>
          <p:cNvSpPr/>
          <p:nvPr/>
        </p:nvSpPr>
        <p:spPr>
          <a:xfrm>
            <a:off x="506764" y="3641906"/>
            <a:ext cx="2266916" cy="746522"/>
          </a:xfrm>
          <a:prstGeom prst="homePlate">
            <a:avLst/>
          </a:prstGeom>
          <a:solidFill>
            <a:schemeClr val="tx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1" dirty="0">
                <a:latin typeface="Tahoma" panose="020B0604030504040204" pitchFamily="34" charset="0"/>
                <a:ea typeface="Tahoma" panose="020B0604030504040204" pitchFamily="34" charset="0"/>
                <a:cs typeface="Tahoma" panose="020B0604030504040204" pitchFamily="34" charset="0"/>
              </a:rPr>
              <a:t>When?</a:t>
            </a:r>
          </a:p>
        </p:txBody>
      </p:sp>
      <p:sp>
        <p:nvSpPr>
          <p:cNvPr id="9" name="Rectangle 8">
            <a:extLst>
              <a:ext uri="{FF2B5EF4-FFF2-40B4-BE49-F238E27FC236}">
                <a16:creationId xmlns:a16="http://schemas.microsoft.com/office/drawing/2014/main" id="{F3BB3000-BB65-4E6A-DB7A-26E8926FAB97}"/>
              </a:ext>
            </a:extLst>
          </p:cNvPr>
          <p:cNvSpPr/>
          <p:nvPr/>
        </p:nvSpPr>
        <p:spPr>
          <a:xfrm>
            <a:off x="3121840" y="1349442"/>
            <a:ext cx="1951301" cy="746522"/>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i="1" dirty="0">
                <a:solidFill>
                  <a:schemeClr val="tx1"/>
                </a:solidFill>
                <a:latin typeface="Tahoma" panose="020B0604030504040204" pitchFamily="34" charset="0"/>
                <a:ea typeface="Tahoma" panose="020B0604030504040204" pitchFamily="34" charset="0"/>
                <a:cs typeface="Tahoma" panose="020B0604030504040204" pitchFamily="34" charset="0"/>
              </a:rPr>
              <a:t>Roles &amp; Seniority</a:t>
            </a:r>
          </a:p>
        </p:txBody>
      </p:sp>
      <p:sp>
        <p:nvSpPr>
          <p:cNvPr id="10" name="Rectangle 9">
            <a:extLst>
              <a:ext uri="{FF2B5EF4-FFF2-40B4-BE49-F238E27FC236}">
                <a16:creationId xmlns:a16="http://schemas.microsoft.com/office/drawing/2014/main" id="{DDC1E139-0923-B652-640C-7A09A92352BB}"/>
              </a:ext>
            </a:extLst>
          </p:cNvPr>
          <p:cNvSpPr/>
          <p:nvPr/>
        </p:nvSpPr>
        <p:spPr>
          <a:xfrm>
            <a:off x="3121840" y="2495674"/>
            <a:ext cx="1951301" cy="746522"/>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i="1" dirty="0">
                <a:solidFill>
                  <a:schemeClr val="tx1"/>
                </a:solidFill>
                <a:latin typeface="Tahoma" panose="020B0604030504040204" pitchFamily="34" charset="0"/>
                <a:ea typeface="Tahoma" panose="020B0604030504040204" pitchFamily="34" charset="0"/>
                <a:cs typeface="Tahoma" panose="020B0604030504040204" pitchFamily="34" charset="0"/>
              </a:rPr>
              <a:t>Skills &amp; Behaviours</a:t>
            </a:r>
          </a:p>
        </p:txBody>
      </p:sp>
      <p:sp>
        <p:nvSpPr>
          <p:cNvPr id="15" name="Rectangle 14">
            <a:extLst>
              <a:ext uri="{FF2B5EF4-FFF2-40B4-BE49-F238E27FC236}">
                <a16:creationId xmlns:a16="http://schemas.microsoft.com/office/drawing/2014/main" id="{CEA4F3FC-9ABF-E392-5328-BF744BEAD0E2}"/>
              </a:ext>
            </a:extLst>
          </p:cNvPr>
          <p:cNvSpPr/>
          <p:nvPr/>
        </p:nvSpPr>
        <p:spPr>
          <a:xfrm>
            <a:off x="3121840" y="4785598"/>
            <a:ext cx="1951301" cy="746522"/>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i="1" dirty="0">
                <a:solidFill>
                  <a:schemeClr val="tx1"/>
                </a:solidFill>
                <a:latin typeface="Tahoma" panose="020B0604030504040204" pitchFamily="34" charset="0"/>
                <a:ea typeface="Tahoma" panose="020B0604030504040204" pitchFamily="34" charset="0"/>
                <a:cs typeface="Tahoma" panose="020B0604030504040204" pitchFamily="34" charset="0"/>
              </a:rPr>
              <a:t>Delivery </a:t>
            </a:r>
            <a:br>
              <a:rPr lang="en-GB" sz="1600" i="1" dirty="0">
                <a:solidFill>
                  <a:schemeClr val="tx1"/>
                </a:solidFill>
                <a:latin typeface="Tahoma" panose="020B0604030504040204" pitchFamily="34" charset="0"/>
                <a:ea typeface="Tahoma" panose="020B0604030504040204" pitchFamily="34" charset="0"/>
                <a:cs typeface="Tahoma" panose="020B0604030504040204" pitchFamily="34" charset="0"/>
              </a:rPr>
            </a:br>
            <a:r>
              <a:rPr lang="en-GB" sz="1600" i="1" dirty="0">
                <a:solidFill>
                  <a:schemeClr val="tx1"/>
                </a:solidFill>
                <a:latin typeface="Tahoma" panose="020B0604030504040204" pitchFamily="34" charset="0"/>
                <a:ea typeface="Tahoma" panose="020B0604030504040204" pitchFamily="34" charset="0"/>
                <a:cs typeface="Tahoma" panose="020B0604030504040204" pitchFamily="34" charset="0"/>
              </a:rPr>
              <a:t>Types</a:t>
            </a:r>
          </a:p>
        </p:txBody>
      </p:sp>
      <p:sp>
        <p:nvSpPr>
          <p:cNvPr id="16" name="Rectangle 15">
            <a:extLst>
              <a:ext uri="{FF2B5EF4-FFF2-40B4-BE49-F238E27FC236}">
                <a16:creationId xmlns:a16="http://schemas.microsoft.com/office/drawing/2014/main" id="{ECC09ACE-FC11-1B81-5212-F7A361534C78}"/>
              </a:ext>
            </a:extLst>
          </p:cNvPr>
          <p:cNvSpPr/>
          <p:nvPr/>
        </p:nvSpPr>
        <p:spPr>
          <a:xfrm>
            <a:off x="5204986" y="4785598"/>
            <a:ext cx="1951301" cy="746522"/>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i="1" dirty="0">
                <a:solidFill>
                  <a:schemeClr val="tx1"/>
                </a:solidFill>
                <a:latin typeface="Tahoma" panose="020B0604030504040204" pitchFamily="34" charset="0"/>
                <a:ea typeface="Tahoma" panose="020B0604030504040204" pitchFamily="34" charset="0"/>
                <a:cs typeface="Tahoma" panose="020B0604030504040204" pitchFamily="34" charset="0"/>
              </a:rPr>
              <a:t>Instructional Strategies</a:t>
            </a:r>
          </a:p>
        </p:txBody>
      </p:sp>
      <p:sp>
        <p:nvSpPr>
          <p:cNvPr id="17" name="Rectangle 16">
            <a:extLst>
              <a:ext uri="{FF2B5EF4-FFF2-40B4-BE49-F238E27FC236}">
                <a16:creationId xmlns:a16="http://schemas.microsoft.com/office/drawing/2014/main" id="{556849AA-1356-DAC5-4B26-D46C2A5D9776}"/>
              </a:ext>
            </a:extLst>
          </p:cNvPr>
          <p:cNvSpPr/>
          <p:nvPr/>
        </p:nvSpPr>
        <p:spPr>
          <a:xfrm>
            <a:off x="7288132" y="4785598"/>
            <a:ext cx="1951301" cy="746522"/>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i="1" dirty="0">
                <a:solidFill>
                  <a:schemeClr val="tx1"/>
                </a:solidFill>
                <a:latin typeface="Tahoma" panose="020B0604030504040204" pitchFamily="34" charset="0"/>
                <a:ea typeface="Tahoma" panose="020B0604030504040204" pitchFamily="34" charset="0"/>
                <a:cs typeface="Tahoma" panose="020B0604030504040204" pitchFamily="34" charset="0"/>
              </a:rPr>
              <a:t>Content Formats</a:t>
            </a:r>
          </a:p>
        </p:txBody>
      </p:sp>
      <p:sp>
        <p:nvSpPr>
          <p:cNvPr id="18" name="Rectangle 17">
            <a:extLst>
              <a:ext uri="{FF2B5EF4-FFF2-40B4-BE49-F238E27FC236}">
                <a16:creationId xmlns:a16="http://schemas.microsoft.com/office/drawing/2014/main" id="{CE9A606A-B415-732A-81FB-4B58B2ABD63E}"/>
              </a:ext>
            </a:extLst>
          </p:cNvPr>
          <p:cNvSpPr/>
          <p:nvPr/>
        </p:nvSpPr>
        <p:spPr>
          <a:xfrm>
            <a:off x="9371279" y="4785598"/>
            <a:ext cx="1951301" cy="746522"/>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i="1" dirty="0">
                <a:solidFill>
                  <a:schemeClr val="tx1"/>
                </a:solidFill>
                <a:latin typeface="Tahoma" panose="020B0604030504040204" pitchFamily="34" charset="0"/>
                <a:ea typeface="Tahoma" panose="020B0604030504040204" pitchFamily="34" charset="0"/>
                <a:cs typeface="Tahoma" panose="020B0604030504040204" pitchFamily="34" charset="0"/>
              </a:rPr>
              <a:t>Trainers</a:t>
            </a:r>
          </a:p>
        </p:txBody>
      </p:sp>
      <p:sp>
        <p:nvSpPr>
          <p:cNvPr id="19" name="Rectangle 18">
            <a:extLst>
              <a:ext uri="{FF2B5EF4-FFF2-40B4-BE49-F238E27FC236}">
                <a16:creationId xmlns:a16="http://schemas.microsoft.com/office/drawing/2014/main" id="{01D93B38-59FC-0849-0262-C92C87DFF83D}"/>
              </a:ext>
            </a:extLst>
          </p:cNvPr>
          <p:cNvSpPr/>
          <p:nvPr/>
        </p:nvSpPr>
        <p:spPr>
          <a:xfrm>
            <a:off x="3121840" y="3641906"/>
            <a:ext cx="1951301" cy="746522"/>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i="1" dirty="0">
                <a:solidFill>
                  <a:schemeClr val="tx1"/>
                </a:solidFill>
                <a:latin typeface="Tahoma" panose="020B0604030504040204" pitchFamily="34" charset="0"/>
                <a:ea typeface="Tahoma" panose="020B0604030504040204" pitchFamily="34" charset="0"/>
                <a:cs typeface="Tahoma" panose="020B0604030504040204" pitchFamily="34" charset="0"/>
              </a:rPr>
              <a:t>Career</a:t>
            </a:r>
          </a:p>
        </p:txBody>
      </p:sp>
      <p:sp>
        <p:nvSpPr>
          <p:cNvPr id="20" name="Rectangle 19">
            <a:extLst>
              <a:ext uri="{FF2B5EF4-FFF2-40B4-BE49-F238E27FC236}">
                <a16:creationId xmlns:a16="http://schemas.microsoft.com/office/drawing/2014/main" id="{B72E4CF2-FA94-2C06-CD4B-E3D91416AABA}"/>
              </a:ext>
            </a:extLst>
          </p:cNvPr>
          <p:cNvSpPr/>
          <p:nvPr/>
        </p:nvSpPr>
        <p:spPr>
          <a:xfrm>
            <a:off x="5204986" y="3641906"/>
            <a:ext cx="1951301" cy="746522"/>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i="1" dirty="0">
                <a:solidFill>
                  <a:schemeClr val="tx1"/>
                </a:solidFill>
                <a:latin typeface="Tahoma" panose="020B0604030504040204" pitchFamily="34" charset="0"/>
                <a:ea typeface="Tahoma" panose="020B0604030504040204" pitchFamily="34" charset="0"/>
                <a:cs typeface="Tahoma" panose="020B0604030504040204" pitchFamily="34" charset="0"/>
              </a:rPr>
              <a:t>Calendar</a:t>
            </a:r>
          </a:p>
        </p:txBody>
      </p:sp>
      <p:sp>
        <p:nvSpPr>
          <p:cNvPr id="21" name="Rectangle 20">
            <a:extLst>
              <a:ext uri="{FF2B5EF4-FFF2-40B4-BE49-F238E27FC236}">
                <a16:creationId xmlns:a16="http://schemas.microsoft.com/office/drawing/2014/main" id="{79F11E50-A8A3-FCAA-910C-CD47EB19D742}"/>
              </a:ext>
            </a:extLst>
          </p:cNvPr>
          <p:cNvSpPr/>
          <p:nvPr/>
        </p:nvSpPr>
        <p:spPr>
          <a:xfrm>
            <a:off x="7288132" y="3641906"/>
            <a:ext cx="1951301" cy="746522"/>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i="1" dirty="0">
                <a:solidFill>
                  <a:schemeClr val="tx1"/>
                </a:solidFill>
                <a:latin typeface="Tahoma" panose="020B0604030504040204" pitchFamily="34" charset="0"/>
                <a:ea typeface="Tahoma" panose="020B0604030504040204" pitchFamily="34" charset="0"/>
                <a:cs typeface="Tahoma" panose="020B0604030504040204" pitchFamily="34" charset="0"/>
              </a:rPr>
              <a:t>Capacity</a:t>
            </a:r>
          </a:p>
        </p:txBody>
      </p:sp>
      <p:sp>
        <p:nvSpPr>
          <p:cNvPr id="11" name="Speech Bubble: Rectangle with Corners Rounded 10">
            <a:extLst>
              <a:ext uri="{FF2B5EF4-FFF2-40B4-BE49-F238E27FC236}">
                <a16:creationId xmlns:a16="http://schemas.microsoft.com/office/drawing/2014/main" id="{DE6A27D7-601C-19FB-D6AD-FE391F9D5C50}"/>
              </a:ext>
            </a:extLst>
          </p:cNvPr>
          <p:cNvSpPr/>
          <p:nvPr/>
        </p:nvSpPr>
        <p:spPr>
          <a:xfrm>
            <a:off x="5570535" y="1339718"/>
            <a:ext cx="4113146" cy="746522"/>
          </a:xfrm>
          <a:prstGeom prst="wedgeRoundRectCallout">
            <a:avLst>
              <a:gd name="adj1" fmla="val -59367"/>
              <a:gd name="adj2" fmla="val 10005"/>
              <a:gd name="adj3" fmla="val 16667"/>
            </a:avLst>
          </a:prstGeom>
          <a:solidFill>
            <a:srgbClr val="FFF438"/>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latin typeface="Tahoma" panose="020B0604030504040204" pitchFamily="34" charset="0"/>
                <a:ea typeface="Tahoma" panose="020B0604030504040204" pitchFamily="34" charset="0"/>
                <a:cs typeface="Tahoma" panose="020B0604030504040204" pitchFamily="34" charset="0"/>
              </a:rPr>
              <a:t>Business Analysts, Associate Consultants, Consultants, Senior Consultants, Partners</a:t>
            </a:r>
          </a:p>
        </p:txBody>
      </p:sp>
      <p:pic>
        <p:nvPicPr>
          <p:cNvPr id="2050" name="Picture 2" descr="The Chemistry Group | LinkedIn">
            <a:extLst>
              <a:ext uri="{FF2B5EF4-FFF2-40B4-BE49-F238E27FC236}">
                <a16:creationId xmlns:a16="http://schemas.microsoft.com/office/drawing/2014/main" id="{DD5AF1FA-517F-F675-F0D9-2DB9D4DA29E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36319" y="1134587"/>
            <a:ext cx="277801" cy="277801"/>
          </a:xfrm>
          <a:prstGeom prst="rect">
            <a:avLst/>
          </a:prstGeom>
          <a:noFill/>
          <a:extLst>
            <a:ext uri="{909E8E84-426E-40DD-AFC4-6F175D3DCCD1}">
              <a14:hiddenFill xmlns:a14="http://schemas.microsoft.com/office/drawing/2010/main">
                <a:solidFill>
                  <a:srgbClr val="FFFFFF"/>
                </a:solidFill>
              </a14:hiddenFill>
            </a:ext>
          </a:extLst>
        </p:spPr>
      </p:pic>
      <p:sp>
        <p:nvSpPr>
          <p:cNvPr id="12" name="Speech Bubble: Rectangle with Corners Rounded 11">
            <a:extLst>
              <a:ext uri="{FF2B5EF4-FFF2-40B4-BE49-F238E27FC236}">
                <a16:creationId xmlns:a16="http://schemas.microsoft.com/office/drawing/2014/main" id="{633A37F3-75CF-88D3-654B-0CDACC3F9B36}"/>
              </a:ext>
            </a:extLst>
          </p:cNvPr>
          <p:cNvSpPr/>
          <p:nvPr/>
        </p:nvSpPr>
        <p:spPr>
          <a:xfrm>
            <a:off x="5614328" y="2495674"/>
            <a:ext cx="4113146" cy="746522"/>
          </a:xfrm>
          <a:prstGeom prst="wedgeRoundRectCallout">
            <a:avLst>
              <a:gd name="adj1" fmla="val -58944"/>
              <a:gd name="adj2" fmla="val 10005"/>
              <a:gd name="adj3" fmla="val 16667"/>
            </a:avLst>
          </a:prstGeom>
          <a:solidFill>
            <a:srgbClr val="FFF438"/>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latin typeface="Tahoma" panose="020B0604030504040204" pitchFamily="34" charset="0"/>
                <a:ea typeface="Tahoma" panose="020B0604030504040204" pitchFamily="34" charset="0"/>
                <a:cs typeface="Tahoma" panose="020B0604030504040204" pitchFamily="34" charset="0"/>
              </a:rPr>
              <a:t>Build on your Grade Framework &amp; pressure test level of detail required</a:t>
            </a:r>
          </a:p>
        </p:txBody>
      </p:sp>
      <p:pic>
        <p:nvPicPr>
          <p:cNvPr id="13" name="Picture 2" descr="The Chemistry Group | LinkedIn">
            <a:extLst>
              <a:ext uri="{FF2B5EF4-FFF2-40B4-BE49-F238E27FC236}">
                <a16:creationId xmlns:a16="http://schemas.microsoft.com/office/drawing/2014/main" id="{8DD7668C-E8F0-0824-E90F-86EC1CF9A72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36319" y="2413164"/>
            <a:ext cx="277801" cy="277801"/>
          </a:xfrm>
          <a:prstGeom prst="rect">
            <a:avLst/>
          </a:prstGeom>
          <a:noFill/>
          <a:extLst>
            <a:ext uri="{909E8E84-426E-40DD-AFC4-6F175D3DCCD1}">
              <a14:hiddenFill xmlns:a14="http://schemas.microsoft.com/office/drawing/2010/main">
                <a:solidFill>
                  <a:srgbClr val="FFFFFF"/>
                </a:solidFill>
              </a14:hiddenFill>
            </a:ext>
          </a:extLst>
        </p:spPr>
      </p:pic>
      <p:sp>
        <p:nvSpPr>
          <p:cNvPr id="14" name="Speech Bubble: Rectangle with Corners Rounded 13">
            <a:extLst>
              <a:ext uri="{FF2B5EF4-FFF2-40B4-BE49-F238E27FC236}">
                <a16:creationId xmlns:a16="http://schemas.microsoft.com/office/drawing/2014/main" id="{CE1C4A70-0E9C-3691-2CC4-5C88C200025A}"/>
              </a:ext>
            </a:extLst>
          </p:cNvPr>
          <p:cNvSpPr/>
          <p:nvPr/>
        </p:nvSpPr>
        <p:spPr>
          <a:xfrm>
            <a:off x="9474926" y="3641906"/>
            <a:ext cx="2304561" cy="686996"/>
          </a:xfrm>
          <a:prstGeom prst="wedgeRoundRectCallout">
            <a:avLst>
              <a:gd name="adj1" fmla="val -57855"/>
              <a:gd name="adj2" fmla="val 21561"/>
              <a:gd name="adj3" fmla="val 16667"/>
            </a:avLst>
          </a:prstGeom>
          <a:solidFill>
            <a:srgbClr val="FFF438"/>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latin typeface="Tahoma" panose="020B0604030504040204" pitchFamily="34" charset="0"/>
                <a:ea typeface="Tahoma" panose="020B0604030504040204" pitchFamily="34" charset="0"/>
                <a:cs typeface="Tahoma" panose="020B0604030504040204" pitchFamily="34" charset="0"/>
              </a:rPr>
              <a:t>Core outputs for this phase of work</a:t>
            </a:r>
          </a:p>
        </p:txBody>
      </p:sp>
      <p:pic>
        <p:nvPicPr>
          <p:cNvPr id="22" name="Picture 2" descr="The Chemistry Group | LinkedIn">
            <a:extLst>
              <a:ext uri="{FF2B5EF4-FFF2-40B4-BE49-F238E27FC236}">
                <a16:creationId xmlns:a16="http://schemas.microsoft.com/office/drawing/2014/main" id="{83D1CAB9-7B8F-0EB5-BE32-46224C831B0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623168" y="3551369"/>
            <a:ext cx="277801" cy="277801"/>
          </a:xfrm>
          <a:prstGeom prst="rect">
            <a:avLst/>
          </a:prstGeom>
          <a:noFill/>
          <a:extLst>
            <a:ext uri="{909E8E84-426E-40DD-AFC4-6F175D3DCCD1}">
              <a14:hiddenFill xmlns:a14="http://schemas.microsoft.com/office/drawing/2010/main">
                <a:solidFill>
                  <a:srgbClr val="FFFFFF"/>
                </a:solidFill>
              </a14:hiddenFill>
            </a:ext>
          </a:extLst>
        </p:spPr>
      </p:pic>
      <p:sp>
        <p:nvSpPr>
          <p:cNvPr id="23" name="Speech Bubble: Rectangle with Corners Rounded 22">
            <a:extLst>
              <a:ext uri="{FF2B5EF4-FFF2-40B4-BE49-F238E27FC236}">
                <a16:creationId xmlns:a16="http://schemas.microsoft.com/office/drawing/2014/main" id="{455FFB6B-420D-274D-B8B3-51784A047663}"/>
              </a:ext>
            </a:extLst>
          </p:cNvPr>
          <p:cNvSpPr/>
          <p:nvPr/>
        </p:nvSpPr>
        <p:spPr>
          <a:xfrm>
            <a:off x="2272937" y="5929290"/>
            <a:ext cx="2800204" cy="686996"/>
          </a:xfrm>
          <a:prstGeom prst="wedgeRoundRectCallout">
            <a:avLst>
              <a:gd name="adj1" fmla="val 14575"/>
              <a:gd name="adj2" fmla="val -92526"/>
              <a:gd name="adj3" fmla="val 16667"/>
            </a:avLst>
          </a:prstGeom>
          <a:solidFill>
            <a:srgbClr val="FFF438"/>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latin typeface="Tahoma" panose="020B0604030504040204" pitchFamily="34" charset="0"/>
                <a:ea typeface="Tahoma" panose="020B0604030504040204" pitchFamily="34" charset="0"/>
                <a:cs typeface="Tahoma" panose="020B0604030504040204" pitchFamily="34" charset="0"/>
              </a:rPr>
              <a:t>Key output, within training curricula we design</a:t>
            </a:r>
          </a:p>
        </p:txBody>
      </p:sp>
      <p:pic>
        <p:nvPicPr>
          <p:cNvPr id="24" name="Picture 2" descr="The Chemistry Group | LinkedIn">
            <a:extLst>
              <a:ext uri="{FF2B5EF4-FFF2-40B4-BE49-F238E27FC236}">
                <a16:creationId xmlns:a16="http://schemas.microsoft.com/office/drawing/2014/main" id="{9BF5FD3A-3E6F-2837-985E-3B68BC77017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83640" y="5873589"/>
            <a:ext cx="277801" cy="277801"/>
          </a:xfrm>
          <a:prstGeom prst="rect">
            <a:avLst/>
          </a:prstGeom>
          <a:noFill/>
          <a:extLst>
            <a:ext uri="{909E8E84-426E-40DD-AFC4-6F175D3DCCD1}">
              <a14:hiddenFill xmlns:a14="http://schemas.microsoft.com/office/drawing/2010/main">
                <a:solidFill>
                  <a:srgbClr val="FFFFFF"/>
                </a:solidFill>
              </a14:hiddenFill>
            </a:ext>
          </a:extLst>
        </p:spPr>
      </p:pic>
      <p:sp>
        <p:nvSpPr>
          <p:cNvPr id="25" name="Speech Bubble: Rectangle with Corners Rounded 24">
            <a:extLst>
              <a:ext uri="{FF2B5EF4-FFF2-40B4-BE49-F238E27FC236}">
                <a16:creationId xmlns:a16="http://schemas.microsoft.com/office/drawing/2014/main" id="{2D60F4BD-5232-B9F6-7E6B-6DD5C3E632CE}"/>
              </a:ext>
            </a:extLst>
          </p:cNvPr>
          <p:cNvSpPr/>
          <p:nvPr/>
        </p:nvSpPr>
        <p:spPr>
          <a:xfrm>
            <a:off x="5569530" y="5929290"/>
            <a:ext cx="4654334" cy="686996"/>
          </a:xfrm>
          <a:prstGeom prst="wedgeRoundRectCallout">
            <a:avLst>
              <a:gd name="adj1" fmla="val 12891"/>
              <a:gd name="adj2" fmla="val -69708"/>
              <a:gd name="adj3" fmla="val 16667"/>
            </a:avLst>
          </a:prstGeom>
          <a:solidFill>
            <a:schemeClr val="bg1">
              <a:lumMod val="95000"/>
            </a:schemeClr>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i="1" dirty="0">
                <a:solidFill>
                  <a:schemeClr val="tx1"/>
                </a:solidFill>
                <a:latin typeface="Tahoma" panose="020B0604030504040204" pitchFamily="34" charset="0"/>
                <a:ea typeface="Tahoma" panose="020B0604030504040204" pitchFamily="34" charset="0"/>
                <a:cs typeface="Tahoma" panose="020B0604030504040204" pitchFamily="34" charset="0"/>
              </a:rPr>
              <a:t>Detailed work to be done as part of implementation &amp; learning design in 2024</a:t>
            </a:r>
          </a:p>
        </p:txBody>
      </p:sp>
      <p:pic>
        <p:nvPicPr>
          <p:cNvPr id="26" name="Picture 2" descr="The Chemistry Group | LinkedIn">
            <a:extLst>
              <a:ext uri="{FF2B5EF4-FFF2-40B4-BE49-F238E27FC236}">
                <a16:creationId xmlns:a16="http://schemas.microsoft.com/office/drawing/2014/main" id="{F33F4396-A6BA-405C-C461-16BA9C09E17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004281" y="5821337"/>
            <a:ext cx="277801" cy="277801"/>
          </a:xfrm>
          <a:prstGeom prst="rect">
            <a:avLst/>
          </a:prstGeom>
          <a:noFill/>
          <a:extLst>
            <a:ext uri="{909E8E84-426E-40DD-AFC4-6F175D3DCCD1}">
              <a14:hiddenFill xmlns:a14="http://schemas.microsoft.com/office/drawing/2010/main">
                <a:solidFill>
                  <a:srgbClr val="FFFFFF"/>
                </a:solidFill>
              </a14:hiddenFill>
            </a:ext>
          </a:extLst>
        </p:spPr>
      </p:pic>
      <p:sp>
        <p:nvSpPr>
          <p:cNvPr id="27" name="Right Brace 26">
            <a:extLst>
              <a:ext uri="{FF2B5EF4-FFF2-40B4-BE49-F238E27FC236}">
                <a16:creationId xmlns:a16="http://schemas.microsoft.com/office/drawing/2014/main" id="{BF4C9A88-5F20-B0F8-276A-74AA0AC488F7}"/>
              </a:ext>
            </a:extLst>
          </p:cNvPr>
          <p:cNvSpPr/>
          <p:nvPr/>
        </p:nvSpPr>
        <p:spPr>
          <a:xfrm rot="5400000">
            <a:off x="8172681" y="2631917"/>
            <a:ext cx="182204" cy="6117594"/>
          </a:xfrm>
          <a:prstGeom prst="rightBrace">
            <a:avLst>
              <a:gd name="adj1" fmla="val 51289"/>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1564052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1"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1"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1"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grpId="0" nodeType="clickEffect">
                                  <p:stCondLst>
                                    <p:cond delay="0"/>
                                  </p:stCondLst>
                                  <p:childTnLst>
                                    <p:set>
                                      <p:cBhvr>
                                        <p:cTn id="26" dur="1" fill="hold">
                                          <p:stCondLst>
                                            <p:cond delay="0"/>
                                          </p:stCondLst>
                                        </p:cTn>
                                        <p:tgtEl>
                                          <p:spTgt spid="14"/>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1" nodeType="clickEffect">
                                  <p:stCondLst>
                                    <p:cond delay="0"/>
                                  </p:stCondLst>
                                  <p:childTnLst>
                                    <p:set>
                                      <p:cBhvr>
                                        <p:cTn id="30" dur="1" fill="hold">
                                          <p:stCondLst>
                                            <p:cond delay="0"/>
                                          </p:stCondLst>
                                        </p:cTn>
                                        <p:tgtEl>
                                          <p:spTgt spid="2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xit" presetSubtype="0" fill="hold" grpId="0" nodeType="clickEffect">
                                  <p:stCondLst>
                                    <p:cond delay="0"/>
                                  </p:stCondLst>
                                  <p:childTnLst>
                                    <p:set>
                                      <p:cBhvr>
                                        <p:cTn id="34" dur="1" fill="hold">
                                          <p:stCondLst>
                                            <p:cond delay="0"/>
                                          </p:stCondLst>
                                        </p:cTn>
                                        <p:tgtEl>
                                          <p:spTgt spid="23"/>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1" nodeType="clickEffect">
                                  <p:stCondLst>
                                    <p:cond delay="0"/>
                                  </p:stCondLst>
                                  <p:childTnLst>
                                    <p:set>
                                      <p:cBhvr>
                                        <p:cTn id="38" dur="1" fill="hold">
                                          <p:stCondLst>
                                            <p:cond delay="0"/>
                                          </p:stCondLst>
                                        </p:cTn>
                                        <p:tgtEl>
                                          <p:spTgt spid="25"/>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xit" presetSubtype="0" fill="hold" grpId="0" nodeType="clickEffect">
                                  <p:stCondLst>
                                    <p:cond delay="0"/>
                                  </p:stCondLst>
                                  <p:childTnLst>
                                    <p:set>
                                      <p:cBhvr>
                                        <p:cTn id="42" dur="1" fill="hold">
                                          <p:stCondLst>
                                            <p:cond delay="0"/>
                                          </p:stCondLst>
                                        </p:cTn>
                                        <p:tgtEl>
                                          <p:spTgt spid="2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1" grpId="1" animBg="1"/>
      <p:bldP spid="12" grpId="0" animBg="1"/>
      <p:bldP spid="12" grpId="1" animBg="1"/>
      <p:bldP spid="14" grpId="0" animBg="1"/>
      <p:bldP spid="14" grpId="1" animBg="1"/>
      <p:bldP spid="23" grpId="0" animBg="1"/>
      <p:bldP spid="23" grpId="1" animBg="1"/>
      <p:bldP spid="25" grpId="0" animBg="1"/>
      <p:bldP spid="25" grpId="1"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6BBC435-B9C5-4AEB-B555-861A854F12B9}"/>
              </a:ext>
            </a:extLst>
          </p:cNvPr>
          <p:cNvSpPr>
            <a:spLocks noGrp="1"/>
          </p:cNvSpPr>
          <p:nvPr>
            <p:ph type="title"/>
          </p:nvPr>
        </p:nvSpPr>
        <p:spPr>
          <a:xfrm>
            <a:off x="485661" y="365125"/>
            <a:ext cx="11175116" cy="337599"/>
          </a:xfrm>
        </p:spPr>
        <p:txBody>
          <a:bodyPr/>
          <a:lstStyle/>
          <a:p>
            <a:r>
              <a:rPr lang="en-GB" dirty="0"/>
              <a:t>TASK: Run 3 half-day workshops to agree</a:t>
            </a:r>
          </a:p>
        </p:txBody>
      </p:sp>
      <p:sp>
        <p:nvSpPr>
          <p:cNvPr id="10" name="Slide Number Placeholder 9">
            <a:extLst>
              <a:ext uri="{FF2B5EF4-FFF2-40B4-BE49-F238E27FC236}">
                <a16:creationId xmlns:a16="http://schemas.microsoft.com/office/drawing/2014/main" id="{9BA0D685-3821-47E0-9151-5B52FF79197C}"/>
              </a:ext>
            </a:extLst>
          </p:cNvPr>
          <p:cNvSpPr>
            <a:spLocks noGrp="1"/>
          </p:cNvSpPr>
          <p:nvPr>
            <p:ph type="sldNum" sz="quarter" idx="10"/>
          </p:nvPr>
        </p:nvSpPr>
        <p:spPr/>
        <p:txBody>
          <a:bodyPr/>
          <a:lstStyle/>
          <a:p>
            <a:fld id="{B8887534-9256-4D4A-AB4E-4EBB84A560FF}" type="slidenum">
              <a:rPr lang="en-GB" smtClean="0"/>
              <a:pPr/>
              <a:t>7</a:t>
            </a:fld>
            <a:endParaRPr lang="en-GB"/>
          </a:p>
        </p:txBody>
      </p:sp>
      <p:sp>
        <p:nvSpPr>
          <p:cNvPr id="34" name="Freeform: Shape 38">
            <a:extLst>
              <a:ext uri="{FF2B5EF4-FFF2-40B4-BE49-F238E27FC236}">
                <a16:creationId xmlns:a16="http://schemas.microsoft.com/office/drawing/2014/main" id="{8E5066CC-CD0E-9244-D5C8-F511C7F90CA2}"/>
              </a:ext>
            </a:extLst>
          </p:cNvPr>
          <p:cNvSpPr/>
          <p:nvPr/>
        </p:nvSpPr>
        <p:spPr>
          <a:xfrm>
            <a:off x="278674" y="1780712"/>
            <a:ext cx="1311587" cy="708256"/>
          </a:xfrm>
          <a:prstGeom prst="homePlate">
            <a:avLst>
              <a:gd name="adj" fmla="val 27547"/>
            </a:avLst>
          </a:prstGeom>
          <a:solidFill>
            <a:srgbClr val="FFC000"/>
          </a:solid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5043" tIns="95043" rIns="95043" bIns="95043" numCol="1" spcCol="1270" anchor="ctr" anchorCtr="0">
            <a:noAutofit/>
          </a:bodyPr>
          <a:lstStyle/>
          <a:p>
            <a:pPr lvl="0" defTabSz="488950">
              <a:lnSpc>
                <a:spcPct val="90000"/>
              </a:lnSpc>
              <a:spcBef>
                <a:spcPct val="0"/>
              </a:spcBef>
              <a:spcAft>
                <a:spcPct val="35000"/>
              </a:spcAft>
            </a:pPr>
            <a:r>
              <a:rPr lang="en-GB" sz="1600" b="1" dirty="0">
                <a:solidFill>
                  <a:schemeClr val="tx1"/>
                </a:solidFill>
                <a:latin typeface="Tahoma" panose="020B0604030504040204" pitchFamily="34" charset="0"/>
                <a:ea typeface="Tahoma" panose="020B0604030504040204" pitchFamily="34" charset="0"/>
                <a:cs typeface="Tahoma" panose="020B0604030504040204" pitchFamily="34" charset="0"/>
              </a:rPr>
              <a:t>Purpose</a:t>
            </a:r>
          </a:p>
        </p:txBody>
      </p:sp>
      <p:grpSp>
        <p:nvGrpSpPr>
          <p:cNvPr id="50" name="Group 49">
            <a:extLst>
              <a:ext uri="{FF2B5EF4-FFF2-40B4-BE49-F238E27FC236}">
                <a16:creationId xmlns:a16="http://schemas.microsoft.com/office/drawing/2014/main" id="{12D13DBC-0D03-52F6-57BE-BCF0EA477E2C}"/>
              </a:ext>
            </a:extLst>
          </p:cNvPr>
          <p:cNvGrpSpPr/>
          <p:nvPr/>
        </p:nvGrpSpPr>
        <p:grpSpPr>
          <a:xfrm>
            <a:off x="278674" y="2615922"/>
            <a:ext cx="11512870" cy="2278296"/>
            <a:chOff x="337502" y="2615922"/>
            <a:chExt cx="11403779" cy="2278296"/>
          </a:xfrm>
        </p:grpSpPr>
        <p:cxnSp>
          <p:nvCxnSpPr>
            <p:cNvPr id="28" name="Straight Connector 27">
              <a:extLst>
                <a:ext uri="{FF2B5EF4-FFF2-40B4-BE49-F238E27FC236}">
                  <a16:creationId xmlns:a16="http://schemas.microsoft.com/office/drawing/2014/main" id="{C900315A-C6BE-ADDA-CD7F-07E00803E17C}"/>
                </a:ext>
              </a:extLst>
            </p:cNvPr>
            <p:cNvCxnSpPr>
              <a:cxnSpLocks/>
            </p:cNvCxnSpPr>
            <p:nvPr/>
          </p:nvCxnSpPr>
          <p:spPr>
            <a:xfrm>
              <a:off x="337502" y="2615922"/>
              <a:ext cx="11403779"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3D158FC-A94F-A0AB-EAF5-D1BA000859B0}"/>
                </a:ext>
              </a:extLst>
            </p:cNvPr>
            <p:cNvCxnSpPr>
              <a:cxnSpLocks/>
            </p:cNvCxnSpPr>
            <p:nvPr/>
          </p:nvCxnSpPr>
          <p:spPr>
            <a:xfrm>
              <a:off x="337502" y="4894218"/>
              <a:ext cx="11403779"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26" name="Freeform: Shape 38">
            <a:extLst>
              <a:ext uri="{FF2B5EF4-FFF2-40B4-BE49-F238E27FC236}">
                <a16:creationId xmlns:a16="http://schemas.microsoft.com/office/drawing/2014/main" id="{B81E87F0-5EFE-55F2-86B8-43C8201C4056}"/>
              </a:ext>
            </a:extLst>
          </p:cNvPr>
          <p:cNvSpPr/>
          <p:nvPr/>
        </p:nvSpPr>
        <p:spPr>
          <a:xfrm>
            <a:off x="278674" y="2751591"/>
            <a:ext cx="1311587" cy="708256"/>
          </a:xfrm>
          <a:prstGeom prst="homePlate">
            <a:avLst>
              <a:gd name="adj" fmla="val 27547"/>
            </a:avLst>
          </a:prstGeom>
          <a:solidFill>
            <a:srgbClr val="FFC000"/>
          </a:solid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5043" tIns="95043" rIns="95043" bIns="95043" numCol="1" spcCol="1270" anchor="ctr" anchorCtr="0">
            <a:noAutofit/>
          </a:bodyPr>
          <a:lstStyle/>
          <a:p>
            <a:pPr lvl="0" defTabSz="488950">
              <a:lnSpc>
                <a:spcPct val="90000"/>
              </a:lnSpc>
              <a:spcBef>
                <a:spcPct val="0"/>
              </a:spcBef>
              <a:spcAft>
                <a:spcPct val="35000"/>
              </a:spcAft>
            </a:pPr>
            <a:r>
              <a:rPr lang="en-GB" sz="1600" b="1" dirty="0">
                <a:solidFill>
                  <a:schemeClr val="tx1"/>
                </a:solidFill>
                <a:latin typeface="Tahoma" panose="020B0604030504040204" pitchFamily="34" charset="0"/>
                <a:ea typeface="Tahoma" panose="020B0604030504040204" pitchFamily="34" charset="0"/>
                <a:cs typeface="Tahoma" panose="020B0604030504040204" pitchFamily="34" charset="0"/>
              </a:rPr>
              <a:t>Approach</a:t>
            </a:r>
          </a:p>
        </p:txBody>
      </p:sp>
      <p:sp>
        <p:nvSpPr>
          <p:cNvPr id="27" name="Freeform: Shape 38">
            <a:extLst>
              <a:ext uri="{FF2B5EF4-FFF2-40B4-BE49-F238E27FC236}">
                <a16:creationId xmlns:a16="http://schemas.microsoft.com/office/drawing/2014/main" id="{C5F904A9-ABC3-B83B-8784-1D8691957D9C}"/>
              </a:ext>
            </a:extLst>
          </p:cNvPr>
          <p:cNvSpPr/>
          <p:nvPr/>
        </p:nvSpPr>
        <p:spPr>
          <a:xfrm>
            <a:off x="278674" y="5004802"/>
            <a:ext cx="1311587" cy="458546"/>
          </a:xfrm>
          <a:prstGeom prst="homePlate">
            <a:avLst>
              <a:gd name="adj" fmla="val 27547"/>
            </a:avLst>
          </a:prstGeom>
          <a:solidFill>
            <a:srgbClr val="FFC000"/>
          </a:solid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5043" tIns="95043" rIns="95043" bIns="95043" numCol="1" spcCol="1270" anchor="ctr" anchorCtr="0">
            <a:noAutofit/>
          </a:bodyPr>
          <a:lstStyle/>
          <a:p>
            <a:pPr lvl="0" defTabSz="488950">
              <a:lnSpc>
                <a:spcPct val="90000"/>
              </a:lnSpc>
              <a:spcBef>
                <a:spcPct val="0"/>
              </a:spcBef>
              <a:spcAft>
                <a:spcPct val="35000"/>
              </a:spcAft>
            </a:pPr>
            <a:r>
              <a:rPr lang="en-GB" sz="1600" b="1" dirty="0">
                <a:solidFill>
                  <a:schemeClr val="tx1"/>
                </a:solidFill>
                <a:latin typeface="Tahoma" panose="020B0604030504040204" pitchFamily="34" charset="0"/>
                <a:ea typeface="Tahoma" panose="020B0604030504040204" pitchFamily="34" charset="0"/>
                <a:cs typeface="Tahoma" panose="020B0604030504040204" pitchFamily="34" charset="0"/>
              </a:rPr>
              <a:t>Timing*</a:t>
            </a:r>
          </a:p>
        </p:txBody>
      </p:sp>
      <p:sp>
        <p:nvSpPr>
          <p:cNvPr id="2" name="Rectangle: Rounded Corners 1">
            <a:extLst>
              <a:ext uri="{FF2B5EF4-FFF2-40B4-BE49-F238E27FC236}">
                <a16:creationId xmlns:a16="http://schemas.microsoft.com/office/drawing/2014/main" id="{4D883C47-939D-1197-A436-4B77C75BD505}"/>
              </a:ext>
            </a:extLst>
          </p:cNvPr>
          <p:cNvSpPr/>
          <p:nvPr/>
        </p:nvSpPr>
        <p:spPr>
          <a:xfrm>
            <a:off x="4245877" y="1105320"/>
            <a:ext cx="2462931" cy="435246"/>
          </a:xfrm>
          <a:prstGeom prst="roundRect">
            <a:avLst/>
          </a:prstGeom>
          <a:solidFill>
            <a:schemeClr val="tx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b="1" dirty="0">
                <a:latin typeface="Tahoma" panose="020B0604030504040204" pitchFamily="34" charset="0"/>
                <a:ea typeface="Tahoma" panose="020B0604030504040204" pitchFamily="34" charset="0"/>
                <a:cs typeface="Tahoma" panose="020B0604030504040204" pitchFamily="34" charset="0"/>
              </a:rPr>
              <a:t>1. Capabilities</a:t>
            </a:r>
          </a:p>
        </p:txBody>
      </p:sp>
      <p:sp>
        <p:nvSpPr>
          <p:cNvPr id="4" name="Rectangle: Rounded Corners 3">
            <a:extLst>
              <a:ext uri="{FF2B5EF4-FFF2-40B4-BE49-F238E27FC236}">
                <a16:creationId xmlns:a16="http://schemas.microsoft.com/office/drawing/2014/main" id="{8C205796-9C1E-CEC4-7722-04C843A2927E}"/>
              </a:ext>
            </a:extLst>
          </p:cNvPr>
          <p:cNvSpPr/>
          <p:nvPr/>
        </p:nvSpPr>
        <p:spPr>
          <a:xfrm>
            <a:off x="6787245" y="1105320"/>
            <a:ext cx="2462931" cy="435246"/>
          </a:xfrm>
          <a:prstGeom prst="roundRect">
            <a:avLst/>
          </a:prstGeom>
          <a:solidFill>
            <a:schemeClr val="tx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b="1" dirty="0">
                <a:latin typeface="Tahoma" panose="020B0604030504040204" pitchFamily="34" charset="0"/>
                <a:ea typeface="Tahoma" panose="020B0604030504040204" pitchFamily="34" charset="0"/>
                <a:cs typeface="Tahoma" panose="020B0604030504040204" pitchFamily="34" charset="0"/>
              </a:rPr>
              <a:t>2. Skill Development</a:t>
            </a:r>
          </a:p>
        </p:txBody>
      </p:sp>
      <p:sp>
        <p:nvSpPr>
          <p:cNvPr id="6" name="Rectangle: Rounded Corners 5">
            <a:extLst>
              <a:ext uri="{FF2B5EF4-FFF2-40B4-BE49-F238E27FC236}">
                <a16:creationId xmlns:a16="http://schemas.microsoft.com/office/drawing/2014/main" id="{14DE956B-3D61-79AB-3CE1-181322768A6B}"/>
              </a:ext>
            </a:extLst>
          </p:cNvPr>
          <p:cNvSpPr/>
          <p:nvPr/>
        </p:nvSpPr>
        <p:spPr>
          <a:xfrm>
            <a:off x="9328613" y="1105320"/>
            <a:ext cx="2462931" cy="435246"/>
          </a:xfrm>
          <a:prstGeom prst="roundRect">
            <a:avLst/>
          </a:prstGeom>
          <a:solidFill>
            <a:schemeClr val="tx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b="1" dirty="0">
                <a:latin typeface="Tahoma" panose="020B0604030504040204" pitchFamily="34" charset="0"/>
                <a:ea typeface="Tahoma" panose="020B0604030504040204" pitchFamily="34" charset="0"/>
                <a:cs typeface="Tahoma" panose="020B0604030504040204" pitchFamily="34" charset="0"/>
              </a:rPr>
              <a:t>3. Training Plan</a:t>
            </a:r>
          </a:p>
        </p:txBody>
      </p:sp>
      <p:sp>
        <p:nvSpPr>
          <p:cNvPr id="5" name="Arrow: Right 4">
            <a:extLst>
              <a:ext uri="{FF2B5EF4-FFF2-40B4-BE49-F238E27FC236}">
                <a16:creationId xmlns:a16="http://schemas.microsoft.com/office/drawing/2014/main" id="{3797F6A4-E344-85FF-A96A-5A994B9561F7}"/>
              </a:ext>
            </a:extLst>
          </p:cNvPr>
          <p:cNvSpPr/>
          <p:nvPr/>
        </p:nvSpPr>
        <p:spPr>
          <a:xfrm rot="5400000">
            <a:off x="2802186" y="5426102"/>
            <a:ext cx="217984" cy="638617"/>
          </a:xfrm>
          <a:prstGeom prst="rightArrow">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Freeform: Shape 38">
            <a:extLst>
              <a:ext uri="{FF2B5EF4-FFF2-40B4-BE49-F238E27FC236}">
                <a16:creationId xmlns:a16="http://schemas.microsoft.com/office/drawing/2014/main" id="{178F653F-DFD8-6A64-06FF-DCEE443A33D2}"/>
              </a:ext>
            </a:extLst>
          </p:cNvPr>
          <p:cNvSpPr/>
          <p:nvPr/>
        </p:nvSpPr>
        <p:spPr>
          <a:xfrm>
            <a:off x="1679713" y="5843868"/>
            <a:ext cx="2448543" cy="418696"/>
          </a:xfrm>
          <a:custGeom>
            <a:avLst/>
            <a:gdLst>
              <a:gd name="connsiteX0" fmla="*/ 0 w 1255690"/>
              <a:gd name="connsiteY0" fmla="*/ 57398 h 573982"/>
              <a:gd name="connsiteX1" fmla="*/ 57398 w 1255690"/>
              <a:gd name="connsiteY1" fmla="*/ 0 h 573982"/>
              <a:gd name="connsiteX2" fmla="*/ 1198292 w 1255690"/>
              <a:gd name="connsiteY2" fmla="*/ 0 h 573982"/>
              <a:gd name="connsiteX3" fmla="*/ 1255690 w 1255690"/>
              <a:gd name="connsiteY3" fmla="*/ 57398 h 573982"/>
              <a:gd name="connsiteX4" fmla="*/ 1255690 w 1255690"/>
              <a:gd name="connsiteY4" fmla="*/ 516584 h 573982"/>
              <a:gd name="connsiteX5" fmla="*/ 1198292 w 1255690"/>
              <a:gd name="connsiteY5" fmla="*/ 573982 h 573982"/>
              <a:gd name="connsiteX6" fmla="*/ 57398 w 1255690"/>
              <a:gd name="connsiteY6" fmla="*/ 573982 h 573982"/>
              <a:gd name="connsiteX7" fmla="*/ 0 w 1255690"/>
              <a:gd name="connsiteY7" fmla="*/ 516584 h 573982"/>
              <a:gd name="connsiteX8" fmla="*/ 0 w 1255690"/>
              <a:gd name="connsiteY8" fmla="*/ 57398 h 57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5690" h="573982">
                <a:moveTo>
                  <a:pt x="0" y="57398"/>
                </a:moveTo>
                <a:cubicBezTo>
                  <a:pt x="0" y="25698"/>
                  <a:pt x="25698" y="0"/>
                  <a:pt x="57398" y="0"/>
                </a:cubicBezTo>
                <a:lnTo>
                  <a:pt x="1198292" y="0"/>
                </a:lnTo>
                <a:cubicBezTo>
                  <a:pt x="1229992" y="0"/>
                  <a:pt x="1255690" y="25698"/>
                  <a:pt x="1255690" y="57398"/>
                </a:cubicBezTo>
                <a:lnTo>
                  <a:pt x="1255690" y="516584"/>
                </a:lnTo>
                <a:cubicBezTo>
                  <a:pt x="1255690" y="548284"/>
                  <a:pt x="1229992" y="573982"/>
                  <a:pt x="1198292" y="573982"/>
                </a:cubicBezTo>
                <a:lnTo>
                  <a:pt x="57398" y="573982"/>
                </a:lnTo>
                <a:cubicBezTo>
                  <a:pt x="25698" y="573982"/>
                  <a:pt x="0" y="548284"/>
                  <a:pt x="0" y="516584"/>
                </a:cubicBezTo>
                <a:lnTo>
                  <a:pt x="0" y="57398"/>
                </a:lnTo>
                <a:close/>
              </a:path>
            </a:pathLst>
          </a:cu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5043" tIns="95043" rIns="95043" bIns="95043" numCol="1" spcCol="1270" anchor="t" anchorCtr="0">
            <a:noAutofit/>
          </a:bodyPr>
          <a:lstStyle/>
          <a:p>
            <a:pPr lvl="0" algn="ctr" defTabSz="488950">
              <a:lnSpc>
                <a:spcPct val="90000"/>
              </a:lnSpc>
              <a:spcBef>
                <a:spcPct val="0"/>
              </a:spcBef>
              <a:spcAft>
                <a:spcPct val="35000"/>
              </a:spcAft>
            </a:pPr>
            <a:r>
              <a:rPr lang="en-GB" sz="1600" b="1" dirty="0">
                <a:latin typeface="Tahoma" panose="020B0604030504040204" pitchFamily="34" charset="0"/>
                <a:ea typeface="Tahoma" panose="020B0604030504040204" pitchFamily="34" charset="0"/>
                <a:cs typeface="Tahoma" panose="020B0604030504040204" pitchFamily="34" charset="0"/>
              </a:rPr>
              <a:t>Fact-base to inform Workshop 1</a:t>
            </a:r>
          </a:p>
        </p:txBody>
      </p:sp>
      <p:sp>
        <p:nvSpPr>
          <p:cNvPr id="31" name="Rectangle: Rounded Corners 30">
            <a:extLst>
              <a:ext uri="{FF2B5EF4-FFF2-40B4-BE49-F238E27FC236}">
                <a16:creationId xmlns:a16="http://schemas.microsoft.com/office/drawing/2014/main" id="{DCC863AC-1D33-6FF1-50BB-DD78A8A56650}"/>
              </a:ext>
            </a:extLst>
          </p:cNvPr>
          <p:cNvSpPr/>
          <p:nvPr/>
        </p:nvSpPr>
        <p:spPr>
          <a:xfrm>
            <a:off x="1679714" y="1105320"/>
            <a:ext cx="2462931" cy="435246"/>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b="1" dirty="0">
                <a:solidFill>
                  <a:schemeClr val="tx1"/>
                </a:solidFill>
                <a:latin typeface="Tahoma" panose="020B0604030504040204" pitchFamily="34" charset="0"/>
                <a:ea typeface="Tahoma" panose="020B0604030504040204" pitchFamily="34" charset="0"/>
                <a:cs typeface="Tahoma" panose="020B0604030504040204" pitchFamily="34" charset="0"/>
              </a:rPr>
              <a:t>Pre-work</a:t>
            </a:r>
          </a:p>
        </p:txBody>
      </p:sp>
      <p:sp>
        <p:nvSpPr>
          <p:cNvPr id="33" name="Freeform: Shape 38">
            <a:extLst>
              <a:ext uri="{FF2B5EF4-FFF2-40B4-BE49-F238E27FC236}">
                <a16:creationId xmlns:a16="http://schemas.microsoft.com/office/drawing/2014/main" id="{03EB0EB5-6B0A-DFFE-BED4-395CD7D73245}"/>
              </a:ext>
            </a:extLst>
          </p:cNvPr>
          <p:cNvSpPr/>
          <p:nvPr/>
        </p:nvSpPr>
        <p:spPr>
          <a:xfrm>
            <a:off x="1679713" y="2696127"/>
            <a:ext cx="2448543" cy="418696"/>
          </a:xfrm>
          <a:custGeom>
            <a:avLst/>
            <a:gdLst>
              <a:gd name="connsiteX0" fmla="*/ 0 w 1255690"/>
              <a:gd name="connsiteY0" fmla="*/ 57398 h 573982"/>
              <a:gd name="connsiteX1" fmla="*/ 57398 w 1255690"/>
              <a:gd name="connsiteY1" fmla="*/ 0 h 573982"/>
              <a:gd name="connsiteX2" fmla="*/ 1198292 w 1255690"/>
              <a:gd name="connsiteY2" fmla="*/ 0 h 573982"/>
              <a:gd name="connsiteX3" fmla="*/ 1255690 w 1255690"/>
              <a:gd name="connsiteY3" fmla="*/ 57398 h 573982"/>
              <a:gd name="connsiteX4" fmla="*/ 1255690 w 1255690"/>
              <a:gd name="connsiteY4" fmla="*/ 516584 h 573982"/>
              <a:gd name="connsiteX5" fmla="*/ 1198292 w 1255690"/>
              <a:gd name="connsiteY5" fmla="*/ 573982 h 573982"/>
              <a:gd name="connsiteX6" fmla="*/ 57398 w 1255690"/>
              <a:gd name="connsiteY6" fmla="*/ 573982 h 573982"/>
              <a:gd name="connsiteX7" fmla="*/ 0 w 1255690"/>
              <a:gd name="connsiteY7" fmla="*/ 516584 h 573982"/>
              <a:gd name="connsiteX8" fmla="*/ 0 w 1255690"/>
              <a:gd name="connsiteY8" fmla="*/ 57398 h 57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5690" h="573982">
                <a:moveTo>
                  <a:pt x="0" y="57398"/>
                </a:moveTo>
                <a:cubicBezTo>
                  <a:pt x="0" y="25698"/>
                  <a:pt x="25698" y="0"/>
                  <a:pt x="57398" y="0"/>
                </a:cubicBezTo>
                <a:lnTo>
                  <a:pt x="1198292" y="0"/>
                </a:lnTo>
                <a:cubicBezTo>
                  <a:pt x="1229992" y="0"/>
                  <a:pt x="1255690" y="25698"/>
                  <a:pt x="1255690" y="57398"/>
                </a:cubicBezTo>
                <a:lnTo>
                  <a:pt x="1255690" y="516584"/>
                </a:lnTo>
                <a:cubicBezTo>
                  <a:pt x="1255690" y="548284"/>
                  <a:pt x="1229992" y="573982"/>
                  <a:pt x="1198292" y="573982"/>
                </a:cubicBezTo>
                <a:lnTo>
                  <a:pt x="57398" y="573982"/>
                </a:lnTo>
                <a:cubicBezTo>
                  <a:pt x="25698" y="573982"/>
                  <a:pt x="0" y="548284"/>
                  <a:pt x="0" y="516584"/>
                </a:cubicBezTo>
                <a:lnTo>
                  <a:pt x="0" y="57398"/>
                </a:lnTo>
                <a:close/>
              </a:path>
            </a:pathLst>
          </a:cu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6000" tIns="36000" rIns="36000" bIns="36000" numCol="1" spcCol="1270" anchor="t" anchorCtr="0">
            <a:noAutofit/>
          </a:bodyPr>
          <a:lstStyle/>
          <a:p>
            <a:pPr marL="180975" lvl="0" indent="-180975" defTabSz="488950">
              <a:lnSpc>
                <a:spcPct val="90000"/>
              </a:lnSpc>
              <a:spcBef>
                <a:spcPct val="0"/>
              </a:spcBef>
              <a:spcAft>
                <a:spcPct val="35000"/>
              </a:spcAft>
              <a:buFont typeface="Arial" panose="020B0604020202020204" pitchFamily="34" charset="0"/>
              <a:buChar char="•"/>
            </a:pPr>
            <a:r>
              <a:rPr lang="en-GB" sz="1600" dirty="0">
                <a:latin typeface="Tahoma" panose="020B0604030504040204" pitchFamily="34" charset="0"/>
                <a:ea typeface="Tahoma" panose="020B0604030504040204" pitchFamily="34" charset="0"/>
                <a:cs typeface="Tahoma" panose="020B0604030504040204" pitchFamily="34" charset="0"/>
              </a:rPr>
              <a:t>Review existing work</a:t>
            </a:r>
          </a:p>
          <a:p>
            <a:pPr marL="180975" lvl="0" indent="-180975" defTabSz="488950">
              <a:lnSpc>
                <a:spcPct val="90000"/>
              </a:lnSpc>
              <a:spcBef>
                <a:spcPct val="0"/>
              </a:spcBef>
              <a:spcAft>
                <a:spcPct val="35000"/>
              </a:spcAft>
              <a:buFont typeface="Arial" panose="020B0604020202020204" pitchFamily="34" charset="0"/>
              <a:buChar char="•"/>
            </a:pPr>
            <a:r>
              <a:rPr lang="en-GB" sz="1600" dirty="0">
                <a:latin typeface="Tahoma" panose="020B0604030504040204" pitchFamily="34" charset="0"/>
                <a:ea typeface="Tahoma" panose="020B0604030504040204" pitchFamily="34" charset="0"/>
                <a:cs typeface="Tahoma" panose="020B0604030504040204" pitchFamily="34" charset="0"/>
              </a:rPr>
              <a:t>Issue survey to all team members</a:t>
            </a:r>
          </a:p>
          <a:p>
            <a:pPr marL="180975" lvl="0" indent="-180975" defTabSz="488950">
              <a:lnSpc>
                <a:spcPct val="90000"/>
              </a:lnSpc>
              <a:spcBef>
                <a:spcPct val="0"/>
              </a:spcBef>
              <a:spcAft>
                <a:spcPct val="35000"/>
              </a:spcAft>
              <a:buFont typeface="Arial" panose="020B0604020202020204" pitchFamily="34" charset="0"/>
              <a:buChar char="•"/>
            </a:pPr>
            <a:r>
              <a:rPr lang="en-GB" sz="1600" dirty="0">
                <a:latin typeface="Tahoma" panose="020B0604030504040204" pitchFamily="34" charset="0"/>
                <a:ea typeface="Tahoma" panose="020B0604030504040204" pitchFamily="34" charset="0"/>
                <a:cs typeface="Tahoma" panose="020B0604030504040204" pitchFamily="34" charset="0"/>
              </a:rPr>
              <a:t>Run 3 x peer group interviews</a:t>
            </a:r>
          </a:p>
          <a:p>
            <a:pPr marL="180975" lvl="0" indent="-180975" defTabSz="488950">
              <a:lnSpc>
                <a:spcPct val="90000"/>
              </a:lnSpc>
              <a:spcBef>
                <a:spcPct val="0"/>
              </a:spcBef>
              <a:spcAft>
                <a:spcPct val="35000"/>
              </a:spcAft>
              <a:buFont typeface="Arial" panose="020B0604020202020204" pitchFamily="34" charset="0"/>
              <a:buChar char="•"/>
            </a:pPr>
            <a:r>
              <a:rPr lang="en-GB" sz="1600" dirty="0">
                <a:latin typeface="Tahoma" panose="020B0604030504040204" pitchFamily="34" charset="0"/>
                <a:ea typeface="Tahoma" panose="020B0604030504040204" pitchFamily="34" charset="0"/>
                <a:cs typeface="Tahoma" panose="020B0604030504040204" pitchFamily="34" charset="0"/>
              </a:rPr>
              <a:t>Interview Partners</a:t>
            </a:r>
          </a:p>
          <a:p>
            <a:pPr marL="180975" lvl="0" indent="-180975" defTabSz="488950">
              <a:lnSpc>
                <a:spcPct val="90000"/>
              </a:lnSpc>
              <a:spcBef>
                <a:spcPct val="0"/>
              </a:spcBef>
              <a:spcAft>
                <a:spcPct val="35000"/>
              </a:spcAft>
              <a:buFont typeface="Arial" panose="020B0604020202020204" pitchFamily="34" charset="0"/>
              <a:buChar char="•"/>
            </a:pPr>
            <a:r>
              <a:rPr lang="en-GB" sz="1600">
                <a:latin typeface="Tahoma"/>
                <a:ea typeface="Tahoma"/>
                <a:cs typeface="Tahoma"/>
              </a:rPr>
              <a:t>Build fact-base</a:t>
            </a:r>
            <a:endParaRPr lang="en-GB" sz="1600" dirty="0">
              <a:latin typeface="Tahoma" panose="020B0604030504040204" pitchFamily="34" charset="0"/>
              <a:ea typeface="Tahoma" panose="020B0604030504040204" pitchFamily="34" charset="0"/>
              <a:cs typeface="Tahoma" panose="020B0604030504040204" pitchFamily="34" charset="0"/>
            </a:endParaRPr>
          </a:p>
        </p:txBody>
      </p:sp>
      <p:sp>
        <p:nvSpPr>
          <p:cNvPr id="35" name="Freeform: Shape 38">
            <a:extLst>
              <a:ext uri="{FF2B5EF4-FFF2-40B4-BE49-F238E27FC236}">
                <a16:creationId xmlns:a16="http://schemas.microsoft.com/office/drawing/2014/main" id="{2FA98592-CA7D-055A-E0C6-7C166A8D49DC}"/>
              </a:ext>
            </a:extLst>
          </p:cNvPr>
          <p:cNvSpPr/>
          <p:nvPr/>
        </p:nvSpPr>
        <p:spPr>
          <a:xfrm>
            <a:off x="1679713" y="5044652"/>
            <a:ext cx="2448543" cy="418696"/>
          </a:xfrm>
          <a:custGeom>
            <a:avLst/>
            <a:gdLst>
              <a:gd name="connsiteX0" fmla="*/ 0 w 1255690"/>
              <a:gd name="connsiteY0" fmla="*/ 57398 h 573982"/>
              <a:gd name="connsiteX1" fmla="*/ 57398 w 1255690"/>
              <a:gd name="connsiteY1" fmla="*/ 0 h 573982"/>
              <a:gd name="connsiteX2" fmla="*/ 1198292 w 1255690"/>
              <a:gd name="connsiteY2" fmla="*/ 0 h 573982"/>
              <a:gd name="connsiteX3" fmla="*/ 1255690 w 1255690"/>
              <a:gd name="connsiteY3" fmla="*/ 57398 h 573982"/>
              <a:gd name="connsiteX4" fmla="*/ 1255690 w 1255690"/>
              <a:gd name="connsiteY4" fmla="*/ 516584 h 573982"/>
              <a:gd name="connsiteX5" fmla="*/ 1198292 w 1255690"/>
              <a:gd name="connsiteY5" fmla="*/ 573982 h 573982"/>
              <a:gd name="connsiteX6" fmla="*/ 57398 w 1255690"/>
              <a:gd name="connsiteY6" fmla="*/ 573982 h 573982"/>
              <a:gd name="connsiteX7" fmla="*/ 0 w 1255690"/>
              <a:gd name="connsiteY7" fmla="*/ 516584 h 573982"/>
              <a:gd name="connsiteX8" fmla="*/ 0 w 1255690"/>
              <a:gd name="connsiteY8" fmla="*/ 57398 h 57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5690" h="573982">
                <a:moveTo>
                  <a:pt x="0" y="57398"/>
                </a:moveTo>
                <a:cubicBezTo>
                  <a:pt x="0" y="25698"/>
                  <a:pt x="25698" y="0"/>
                  <a:pt x="57398" y="0"/>
                </a:cubicBezTo>
                <a:lnTo>
                  <a:pt x="1198292" y="0"/>
                </a:lnTo>
                <a:cubicBezTo>
                  <a:pt x="1229992" y="0"/>
                  <a:pt x="1255690" y="25698"/>
                  <a:pt x="1255690" y="57398"/>
                </a:cubicBezTo>
                <a:lnTo>
                  <a:pt x="1255690" y="516584"/>
                </a:lnTo>
                <a:cubicBezTo>
                  <a:pt x="1255690" y="548284"/>
                  <a:pt x="1229992" y="573982"/>
                  <a:pt x="1198292" y="573982"/>
                </a:cubicBezTo>
                <a:lnTo>
                  <a:pt x="57398" y="573982"/>
                </a:lnTo>
                <a:cubicBezTo>
                  <a:pt x="25698" y="573982"/>
                  <a:pt x="0" y="548284"/>
                  <a:pt x="0" y="516584"/>
                </a:cubicBezTo>
                <a:lnTo>
                  <a:pt x="0" y="57398"/>
                </a:lnTo>
                <a:close/>
              </a:path>
            </a:pathLst>
          </a:cu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6000" tIns="36000" rIns="36000" bIns="36000" numCol="1" spcCol="1270" anchor="t" anchorCtr="0">
            <a:noAutofit/>
          </a:bodyPr>
          <a:lstStyle/>
          <a:p>
            <a:pPr marL="180975" lvl="0" indent="-180975" defTabSz="488950">
              <a:lnSpc>
                <a:spcPct val="90000"/>
              </a:lnSpc>
              <a:spcBef>
                <a:spcPct val="0"/>
              </a:spcBef>
              <a:spcAft>
                <a:spcPct val="35000"/>
              </a:spcAft>
              <a:buFont typeface="Arial" panose="020B0604020202020204" pitchFamily="34" charset="0"/>
              <a:buChar char="•"/>
            </a:pPr>
            <a:r>
              <a:rPr lang="en-GB" sz="1600" dirty="0">
                <a:latin typeface="Tahoma" panose="020B0604030504040204" pitchFamily="34" charset="0"/>
                <a:ea typeface="Tahoma" panose="020B0604030504040204" pitchFamily="34" charset="0"/>
                <a:cs typeface="Tahoma" panose="020B0604030504040204" pitchFamily="34" charset="0"/>
              </a:rPr>
              <a:t>Month 1</a:t>
            </a:r>
          </a:p>
        </p:txBody>
      </p:sp>
      <p:sp>
        <p:nvSpPr>
          <p:cNvPr id="36" name="Freeform: Shape 38">
            <a:extLst>
              <a:ext uri="{FF2B5EF4-FFF2-40B4-BE49-F238E27FC236}">
                <a16:creationId xmlns:a16="http://schemas.microsoft.com/office/drawing/2014/main" id="{0EE1A3DF-A143-BD37-EE46-F6AD7DC3DB61}"/>
              </a:ext>
            </a:extLst>
          </p:cNvPr>
          <p:cNvSpPr/>
          <p:nvPr/>
        </p:nvSpPr>
        <p:spPr>
          <a:xfrm>
            <a:off x="1714748" y="1870422"/>
            <a:ext cx="2372788" cy="418696"/>
          </a:xfrm>
          <a:custGeom>
            <a:avLst/>
            <a:gdLst>
              <a:gd name="connsiteX0" fmla="*/ 0 w 1255690"/>
              <a:gd name="connsiteY0" fmla="*/ 57398 h 573982"/>
              <a:gd name="connsiteX1" fmla="*/ 57398 w 1255690"/>
              <a:gd name="connsiteY1" fmla="*/ 0 h 573982"/>
              <a:gd name="connsiteX2" fmla="*/ 1198292 w 1255690"/>
              <a:gd name="connsiteY2" fmla="*/ 0 h 573982"/>
              <a:gd name="connsiteX3" fmla="*/ 1255690 w 1255690"/>
              <a:gd name="connsiteY3" fmla="*/ 57398 h 573982"/>
              <a:gd name="connsiteX4" fmla="*/ 1255690 w 1255690"/>
              <a:gd name="connsiteY4" fmla="*/ 516584 h 573982"/>
              <a:gd name="connsiteX5" fmla="*/ 1198292 w 1255690"/>
              <a:gd name="connsiteY5" fmla="*/ 573982 h 573982"/>
              <a:gd name="connsiteX6" fmla="*/ 57398 w 1255690"/>
              <a:gd name="connsiteY6" fmla="*/ 573982 h 573982"/>
              <a:gd name="connsiteX7" fmla="*/ 0 w 1255690"/>
              <a:gd name="connsiteY7" fmla="*/ 516584 h 573982"/>
              <a:gd name="connsiteX8" fmla="*/ 0 w 1255690"/>
              <a:gd name="connsiteY8" fmla="*/ 57398 h 57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5690" h="573982">
                <a:moveTo>
                  <a:pt x="0" y="57398"/>
                </a:moveTo>
                <a:cubicBezTo>
                  <a:pt x="0" y="25698"/>
                  <a:pt x="25698" y="0"/>
                  <a:pt x="57398" y="0"/>
                </a:cubicBezTo>
                <a:lnTo>
                  <a:pt x="1198292" y="0"/>
                </a:lnTo>
                <a:cubicBezTo>
                  <a:pt x="1229992" y="0"/>
                  <a:pt x="1255690" y="25698"/>
                  <a:pt x="1255690" y="57398"/>
                </a:cubicBezTo>
                <a:lnTo>
                  <a:pt x="1255690" y="516584"/>
                </a:lnTo>
                <a:cubicBezTo>
                  <a:pt x="1255690" y="548284"/>
                  <a:pt x="1229992" y="573982"/>
                  <a:pt x="1198292" y="573982"/>
                </a:cubicBezTo>
                <a:lnTo>
                  <a:pt x="57398" y="573982"/>
                </a:lnTo>
                <a:cubicBezTo>
                  <a:pt x="25698" y="573982"/>
                  <a:pt x="0" y="548284"/>
                  <a:pt x="0" y="516584"/>
                </a:cubicBezTo>
                <a:lnTo>
                  <a:pt x="0" y="57398"/>
                </a:lnTo>
                <a:close/>
              </a:path>
            </a:pathLst>
          </a:cu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6000" tIns="36000" rIns="36000" bIns="36000" numCol="1" spcCol="1270" anchor="t" anchorCtr="0">
            <a:noAutofit/>
          </a:bodyPr>
          <a:lstStyle/>
          <a:p>
            <a:pPr marL="180975" lvl="0" indent="-180975" defTabSz="488950">
              <a:lnSpc>
                <a:spcPct val="90000"/>
              </a:lnSpc>
              <a:spcBef>
                <a:spcPct val="0"/>
              </a:spcBef>
              <a:spcAft>
                <a:spcPct val="35000"/>
              </a:spcAft>
              <a:buFont typeface="Arial" panose="020B0604020202020204" pitchFamily="34" charset="0"/>
              <a:buChar char="•"/>
            </a:pPr>
            <a:r>
              <a:rPr lang="en-GB" sz="1600" dirty="0">
                <a:latin typeface="Tahoma" panose="020B0604030504040204" pitchFamily="34" charset="0"/>
                <a:ea typeface="Tahoma" panose="020B0604030504040204" pitchFamily="34" charset="0"/>
                <a:cs typeface="Tahoma" panose="020B0604030504040204" pitchFamily="34" charset="0"/>
              </a:rPr>
              <a:t>Ensure we consider all relevant inputs</a:t>
            </a:r>
          </a:p>
        </p:txBody>
      </p:sp>
      <p:sp>
        <p:nvSpPr>
          <p:cNvPr id="39" name="Arrow: Right 38">
            <a:extLst>
              <a:ext uri="{FF2B5EF4-FFF2-40B4-BE49-F238E27FC236}">
                <a16:creationId xmlns:a16="http://schemas.microsoft.com/office/drawing/2014/main" id="{72E46C38-5102-EE84-503C-45A4E3A1AA41}"/>
              </a:ext>
            </a:extLst>
          </p:cNvPr>
          <p:cNvSpPr/>
          <p:nvPr/>
        </p:nvSpPr>
        <p:spPr>
          <a:xfrm rot="5400000">
            <a:off x="5368350" y="5426102"/>
            <a:ext cx="217984" cy="638617"/>
          </a:xfrm>
          <a:prstGeom prst="rightArrow">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Freeform: Shape 38">
            <a:extLst>
              <a:ext uri="{FF2B5EF4-FFF2-40B4-BE49-F238E27FC236}">
                <a16:creationId xmlns:a16="http://schemas.microsoft.com/office/drawing/2014/main" id="{0E67378C-7159-AD56-C8F3-4911308AC507}"/>
              </a:ext>
            </a:extLst>
          </p:cNvPr>
          <p:cNvSpPr/>
          <p:nvPr/>
        </p:nvSpPr>
        <p:spPr>
          <a:xfrm>
            <a:off x="4245877" y="5843868"/>
            <a:ext cx="2448543" cy="418696"/>
          </a:xfrm>
          <a:custGeom>
            <a:avLst/>
            <a:gdLst>
              <a:gd name="connsiteX0" fmla="*/ 0 w 1255690"/>
              <a:gd name="connsiteY0" fmla="*/ 57398 h 573982"/>
              <a:gd name="connsiteX1" fmla="*/ 57398 w 1255690"/>
              <a:gd name="connsiteY1" fmla="*/ 0 h 573982"/>
              <a:gd name="connsiteX2" fmla="*/ 1198292 w 1255690"/>
              <a:gd name="connsiteY2" fmla="*/ 0 h 573982"/>
              <a:gd name="connsiteX3" fmla="*/ 1255690 w 1255690"/>
              <a:gd name="connsiteY3" fmla="*/ 57398 h 573982"/>
              <a:gd name="connsiteX4" fmla="*/ 1255690 w 1255690"/>
              <a:gd name="connsiteY4" fmla="*/ 516584 h 573982"/>
              <a:gd name="connsiteX5" fmla="*/ 1198292 w 1255690"/>
              <a:gd name="connsiteY5" fmla="*/ 573982 h 573982"/>
              <a:gd name="connsiteX6" fmla="*/ 57398 w 1255690"/>
              <a:gd name="connsiteY6" fmla="*/ 573982 h 573982"/>
              <a:gd name="connsiteX7" fmla="*/ 0 w 1255690"/>
              <a:gd name="connsiteY7" fmla="*/ 516584 h 573982"/>
              <a:gd name="connsiteX8" fmla="*/ 0 w 1255690"/>
              <a:gd name="connsiteY8" fmla="*/ 57398 h 57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5690" h="573982">
                <a:moveTo>
                  <a:pt x="0" y="57398"/>
                </a:moveTo>
                <a:cubicBezTo>
                  <a:pt x="0" y="25698"/>
                  <a:pt x="25698" y="0"/>
                  <a:pt x="57398" y="0"/>
                </a:cubicBezTo>
                <a:lnTo>
                  <a:pt x="1198292" y="0"/>
                </a:lnTo>
                <a:cubicBezTo>
                  <a:pt x="1229992" y="0"/>
                  <a:pt x="1255690" y="25698"/>
                  <a:pt x="1255690" y="57398"/>
                </a:cubicBezTo>
                <a:lnTo>
                  <a:pt x="1255690" y="516584"/>
                </a:lnTo>
                <a:cubicBezTo>
                  <a:pt x="1255690" y="548284"/>
                  <a:pt x="1229992" y="573982"/>
                  <a:pt x="1198292" y="573982"/>
                </a:cubicBezTo>
                <a:lnTo>
                  <a:pt x="57398" y="573982"/>
                </a:lnTo>
                <a:cubicBezTo>
                  <a:pt x="25698" y="573982"/>
                  <a:pt x="0" y="548284"/>
                  <a:pt x="0" y="516584"/>
                </a:cubicBezTo>
                <a:lnTo>
                  <a:pt x="0" y="57398"/>
                </a:lnTo>
                <a:close/>
              </a:path>
            </a:pathLst>
          </a:cu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5043" tIns="95043" rIns="95043" bIns="95043" numCol="1" spcCol="1270" anchor="t" anchorCtr="0">
            <a:noAutofit/>
          </a:bodyPr>
          <a:lstStyle/>
          <a:p>
            <a:pPr lvl="0" algn="ctr" defTabSz="488950">
              <a:lnSpc>
                <a:spcPct val="90000"/>
              </a:lnSpc>
              <a:spcBef>
                <a:spcPct val="0"/>
              </a:spcBef>
              <a:spcAft>
                <a:spcPct val="35000"/>
              </a:spcAft>
            </a:pPr>
            <a:r>
              <a:rPr lang="en-GB" sz="1600" b="1" dirty="0">
                <a:latin typeface="Tahoma" panose="020B0604030504040204" pitchFamily="34" charset="0"/>
                <a:ea typeface="Tahoma" panose="020B0604030504040204" pitchFamily="34" charset="0"/>
                <a:cs typeface="Tahoma" panose="020B0604030504040204" pitchFamily="34" charset="0"/>
              </a:rPr>
              <a:t>Clarity on the precise skills you need</a:t>
            </a:r>
          </a:p>
        </p:txBody>
      </p:sp>
      <p:sp>
        <p:nvSpPr>
          <p:cNvPr id="41" name="Freeform: Shape 38">
            <a:extLst>
              <a:ext uri="{FF2B5EF4-FFF2-40B4-BE49-F238E27FC236}">
                <a16:creationId xmlns:a16="http://schemas.microsoft.com/office/drawing/2014/main" id="{896E0EAA-3F2F-9D1C-6BC2-6EA396EBBBFB}"/>
              </a:ext>
            </a:extLst>
          </p:cNvPr>
          <p:cNvSpPr/>
          <p:nvPr/>
        </p:nvSpPr>
        <p:spPr>
          <a:xfrm>
            <a:off x="4245877" y="2696127"/>
            <a:ext cx="2526717" cy="418696"/>
          </a:xfrm>
          <a:custGeom>
            <a:avLst/>
            <a:gdLst>
              <a:gd name="connsiteX0" fmla="*/ 0 w 1255690"/>
              <a:gd name="connsiteY0" fmla="*/ 57398 h 573982"/>
              <a:gd name="connsiteX1" fmla="*/ 57398 w 1255690"/>
              <a:gd name="connsiteY1" fmla="*/ 0 h 573982"/>
              <a:gd name="connsiteX2" fmla="*/ 1198292 w 1255690"/>
              <a:gd name="connsiteY2" fmla="*/ 0 h 573982"/>
              <a:gd name="connsiteX3" fmla="*/ 1255690 w 1255690"/>
              <a:gd name="connsiteY3" fmla="*/ 57398 h 573982"/>
              <a:gd name="connsiteX4" fmla="*/ 1255690 w 1255690"/>
              <a:gd name="connsiteY4" fmla="*/ 516584 h 573982"/>
              <a:gd name="connsiteX5" fmla="*/ 1198292 w 1255690"/>
              <a:gd name="connsiteY5" fmla="*/ 573982 h 573982"/>
              <a:gd name="connsiteX6" fmla="*/ 57398 w 1255690"/>
              <a:gd name="connsiteY6" fmla="*/ 573982 h 573982"/>
              <a:gd name="connsiteX7" fmla="*/ 0 w 1255690"/>
              <a:gd name="connsiteY7" fmla="*/ 516584 h 573982"/>
              <a:gd name="connsiteX8" fmla="*/ 0 w 1255690"/>
              <a:gd name="connsiteY8" fmla="*/ 57398 h 57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5690" h="573982">
                <a:moveTo>
                  <a:pt x="0" y="57398"/>
                </a:moveTo>
                <a:cubicBezTo>
                  <a:pt x="0" y="25698"/>
                  <a:pt x="25698" y="0"/>
                  <a:pt x="57398" y="0"/>
                </a:cubicBezTo>
                <a:lnTo>
                  <a:pt x="1198292" y="0"/>
                </a:lnTo>
                <a:cubicBezTo>
                  <a:pt x="1229992" y="0"/>
                  <a:pt x="1255690" y="25698"/>
                  <a:pt x="1255690" y="57398"/>
                </a:cubicBezTo>
                <a:lnTo>
                  <a:pt x="1255690" y="516584"/>
                </a:lnTo>
                <a:cubicBezTo>
                  <a:pt x="1255690" y="548284"/>
                  <a:pt x="1229992" y="573982"/>
                  <a:pt x="1198292" y="573982"/>
                </a:cubicBezTo>
                <a:lnTo>
                  <a:pt x="57398" y="573982"/>
                </a:lnTo>
                <a:cubicBezTo>
                  <a:pt x="25698" y="573982"/>
                  <a:pt x="0" y="548284"/>
                  <a:pt x="0" y="516584"/>
                </a:cubicBezTo>
                <a:lnTo>
                  <a:pt x="0" y="57398"/>
                </a:lnTo>
                <a:close/>
              </a:path>
            </a:pathLst>
          </a:cu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6000" tIns="36000" rIns="36000" bIns="36000" numCol="1" spcCol="1270" anchor="t" anchorCtr="0">
            <a:noAutofit/>
          </a:bodyPr>
          <a:lstStyle/>
          <a:p>
            <a:pPr marL="180975" lvl="0" indent="-180975" defTabSz="488950">
              <a:lnSpc>
                <a:spcPct val="90000"/>
              </a:lnSpc>
              <a:spcBef>
                <a:spcPct val="0"/>
              </a:spcBef>
              <a:spcAft>
                <a:spcPct val="35000"/>
              </a:spcAft>
              <a:buFont typeface="Arial" panose="020B0604020202020204" pitchFamily="34" charset="0"/>
              <a:buChar char="•"/>
            </a:pPr>
            <a:r>
              <a:rPr lang="en-GB" sz="1600" dirty="0">
                <a:latin typeface="Tahoma" panose="020B0604030504040204" pitchFamily="34" charset="0"/>
                <a:ea typeface="Tahoma" panose="020B0604030504040204" pitchFamily="34" charset="0"/>
                <a:cs typeface="Tahoma" panose="020B0604030504040204" pitchFamily="34" charset="0"/>
              </a:rPr>
              <a:t>Review pre-work inputs</a:t>
            </a:r>
          </a:p>
          <a:p>
            <a:pPr marL="180975" lvl="0" indent="-180975" defTabSz="488950">
              <a:lnSpc>
                <a:spcPct val="90000"/>
              </a:lnSpc>
              <a:spcBef>
                <a:spcPct val="0"/>
              </a:spcBef>
              <a:spcAft>
                <a:spcPct val="35000"/>
              </a:spcAft>
              <a:buFont typeface="Arial" panose="020B0604020202020204" pitchFamily="34" charset="0"/>
              <a:buChar char="•"/>
            </a:pPr>
            <a:r>
              <a:rPr lang="en-GB" sz="1600" dirty="0">
                <a:latin typeface="Tahoma" panose="020B0604030504040204" pitchFamily="34" charset="0"/>
                <a:ea typeface="Tahoma" panose="020B0604030504040204" pitchFamily="34" charset="0"/>
                <a:cs typeface="Tahoma" panose="020B0604030504040204" pitchFamily="34" charset="0"/>
              </a:rPr>
              <a:t>Link capabilities back to your strategy</a:t>
            </a:r>
          </a:p>
          <a:p>
            <a:pPr marL="180975" lvl="0" indent="-180975" defTabSz="488950">
              <a:lnSpc>
                <a:spcPct val="90000"/>
              </a:lnSpc>
              <a:spcBef>
                <a:spcPct val="0"/>
              </a:spcBef>
              <a:spcAft>
                <a:spcPct val="35000"/>
              </a:spcAft>
              <a:buFont typeface="Arial" panose="020B0604020202020204" pitchFamily="34" charset="0"/>
              <a:buChar char="•"/>
            </a:pPr>
            <a:r>
              <a:rPr lang="en-GB" sz="1600" dirty="0">
                <a:latin typeface="Tahoma" panose="020B0604030504040204" pitchFamily="34" charset="0"/>
                <a:ea typeface="Tahoma" panose="020B0604030504040204" pitchFamily="34" charset="0"/>
                <a:cs typeface="Tahoma" panose="020B0604030504040204" pitchFamily="34" charset="0"/>
              </a:rPr>
              <a:t>Agree expectations by grade &amp; identify any remaining gaps</a:t>
            </a:r>
          </a:p>
          <a:p>
            <a:pPr marL="180975" lvl="0" indent="-180975" defTabSz="488950">
              <a:lnSpc>
                <a:spcPct val="90000"/>
              </a:lnSpc>
              <a:spcBef>
                <a:spcPct val="0"/>
              </a:spcBef>
              <a:spcAft>
                <a:spcPct val="35000"/>
              </a:spcAft>
              <a:buFont typeface="Arial" panose="020B0604020202020204" pitchFamily="34" charset="0"/>
              <a:buChar char="•"/>
            </a:pPr>
            <a:r>
              <a:rPr lang="en-GB" sz="1600" dirty="0">
                <a:latin typeface="Tahoma" panose="020B0604030504040204" pitchFamily="34" charset="0"/>
                <a:ea typeface="Tahoma" panose="020B0604030504040204" pitchFamily="34" charset="0"/>
                <a:cs typeface="Tahoma" panose="020B0604030504040204" pitchFamily="34" charset="0"/>
              </a:rPr>
              <a:t>Discuss training plan principles</a:t>
            </a:r>
          </a:p>
          <a:p>
            <a:pPr marL="180975" lvl="0" indent="-180975" defTabSz="488950">
              <a:lnSpc>
                <a:spcPct val="90000"/>
              </a:lnSpc>
              <a:spcBef>
                <a:spcPct val="0"/>
              </a:spcBef>
              <a:spcAft>
                <a:spcPct val="35000"/>
              </a:spcAft>
              <a:buFont typeface="Arial" panose="020B0604020202020204" pitchFamily="34" charset="0"/>
              <a:buChar char="•"/>
            </a:pPr>
            <a:endParaRPr lang="en-GB" sz="1600" dirty="0">
              <a:latin typeface="Tahoma" panose="020B0604030504040204" pitchFamily="34" charset="0"/>
              <a:ea typeface="Tahoma" panose="020B0604030504040204" pitchFamily="34" charset="0"/>
              <a:cs typeface="Tahoma" panose="020B0604030504040204" pitchFamily="34" charset="0"/>
            </a:endParaRPr>
          </a:p>
        </p:txBody>
      </p:sp>
      <p:sp>
        <p:nvSpPr>
          <p:cNvPr id="42" name="Freeform: Shape 38">
            <a:extLst>
              <a:ext uri="{FF2B5EF4-FFF2-40B4-BE49-F238E27FC236}">
                <a16:creationId xmlns:a16="http://schemas.microsoft.com/office/drawing/2014/main" id="{9E53F0FE-4E45-7903-4F0E-475983E7CE65}"/>
              </a:ext>
            </a:extLst>
          </p:cNvPr>
          <p:cNvSpPr/>
          <p:nvPr/>
        </p:nvSpPr>
        <p:spPr>
          <a:xfrm>
            <a:off x="4245877" y="5044652"/>
            <a:ext cx="2448543" cy="418696"/>
          </a:xfrm>
          <a:custGeom>
            <a:avLst/>
            <a:gdLst>
              <a:gd name="connsiteX0" fmla="*/ 0 w 1255690"/>
              <a:gd name="connsiteY0" fmla="*/ 57398 h 573982"/>
              <a:gd name="connsiteX1" fmla="*/ 57398 w 1255690"/>
              <a:gd name="connsiteY1" fmla="*/ 0 h 573982"/>
              <a:gd name="connsiteX2" fmla="*/ 1198292 w 1255690"/>
              <a:gd name="connsiteY2" fmla="*/ 0 h 573982"/>
              <a:gd name="connsiteX3" fmla="*/ 1255690 w 1255690"/>
              <a:gd name="connsiteY3" fmla="*/ 57398 h 573982"/>
              <a:gd name="connsiteX4" fmla="*/ 1255690 w 1255690"/>
              <a:gd name="connsiteY4" fmla="*/ 516584 h 573982"/>
              <a:gd name="connsiteX5" fmla="*/ 1198292 w 1255690"/>
              <a:gd name="connsiteY5" fmla="*/ 573982 h 573982"/>
              <a:gd name="connsiteX6" fmla="*/ 57398 w 1255690"/>
              <a:gd name="connsiteY6" fmla="*/ 573982 h 573982"/>
              <a:gd name="connsiteX7" fmla="*/ 0 w 1255690"/>
              <a:gd name="connsiteY7" fmla="*/ 516584 h 573982"/>
              <a:gd name="connsiteX8" fmla="*/ 0 w 1255690"/>
              <a:gd name="connsiteY8" fmla="*/ 57398 h 57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5690" h="573982">
                <a:moveTo>
                  <a:pt x="0" y="57398"/>
                </a:moveTo>
                <a:cubicBezTo>
                  <a:pt x="0" y="25698"/>
                  <a:pt x="25698" y="0"/>
                  <a:pt x="57398" y="0"/>
                </a:cubicBezTo>
                <a:lnTo>
                  <a:pt x="1198292" y="0"/>
                </a:lnTo>
                <a:cubicBezTo>
                  <a:pt x="1229992" y="0"/>
                  <a:pt x="1255690" y="25698"/>
                  <a:pt x="1255690" y="57398"/>
                </a:cubicBezTo>
                <a:lnTo>
                  <a:pt x="1255690" y="516584"/>
                </a:lnTo>
                <a:cubicBezTo>
                  <a:pt x="1255690" y="548284"/>
                  <a:pt x="1229992" y="573982"/>
                  <a:pt x="1198292" y="573982"/>
                </a:cubicBezTo>
                <a:lnTo>
                  <a:pt x="57398" y="573982"/>
                </a:lnTo>
                <a:cubicBezTo>
                  <a:pt x="25698" y="573982"/>
                  <a:pt x="0" y="548284"/>
                  <a:pt x="0" y="516584"/>
                </a:cubicBezTo>
                <a:lnTo>
                  <a:pt x="0" y="57398"/>
                </a:lnTo>
                <a:close/>
              </a:path>
            </a:pathLst>
          </a:cu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6000" tIns="36000" rIns="36000" bIns="36000" numCol="1" spcCol="1270" anchor="t" anchorCtr="0">
            <a:noAutofit/>
          </a:bodyPr>
          <a:lstStyle/>
          <a:p>
            <a:pPr marL="180975" lvl="0" indent="-180975" defTabSz="488950">
              <a:lnSpc>
                <a:spcPct val="90000"/>
              </a:lnSpc>
              <a:spcBef>
                <a:spcPct val="0"/>
              </a:spcBef>
              <a:spcAft>
                <a:spcPct val="35000"/>
              </a:spcAft>
              <a:buFont typeface="Arial" panose="020B0604020202020204" pitchFamily="34" charset="0"/>
              <a:buChar char="•"/>
            </a:pPr>
            <a:r>
              <a:rPr lang="en-GB" sz="1600" dirty="0">
                <a:latin typeface="Tahoma" panose="020B0604030504040204" pitchFamily="34" charset="0"/>
                <a:ea typeface="Tahoma" panose="020B0604030504040204" pitchFamily="34" charset="0"/>
                <a:cs typeface="Tahoma" panose="020B0604030504040204" pitchFamily="34" charset="0"/>
              </a:rPr>
              <a:t>Month 1</a:t>
            </a:r>
          </a:p>
        </p:txBody>
      </p:sp>
      <p:sp>
        <p:nvSpPr>
          <p:cNvPr id="44" name="Freeform: Shape 38">
            <a:extLst>
              <a:ext uri="{FF2B5EF4-FFF2-40B4-BE49-F238E27FC236}">
                <a16:creationId xmlns:a16="http://schemas.microsoft.com/office/drawing/2014/main" id="{173FDC17-DDA6-4008-9EEC-12EE5E7D0AF1}"/>
              </a:ext>
            </a:extLst>
          </p:cNvPr>
          <p:cNvSpPr/>
          <p:nvPr/>
        </p:nvSpPr>
        <p:spPr>
          <a:xfrm>
            <a:off x="4245876" y="1774077"/>
            <a:ext cx="2448543" cy="418696"/>
          </a:xfrm>
          <a:custGeom>
            <a:avLst/>
            <a:gdLst>
              <a:gd name="connsiteX0" fmla="*/ 0 w 1255690"/>
              <a:gd name="connsiteY0" fmla="*/ 57398 h 573982"/>
              <a:gd name="connsiteX1" fmla="*/ 57398 w 1255690"/>
              <a:gd name="connsiteY1" fmla="*/ 0 h 573982"/>
              <a:gd name="connsiteX2" fmla="*/ 1198292 w 1255690"/>
              <a:gd name="connsiteY2" fmla="*/ 0 h 573982"/>
              <a:gd name="connsiteX3" fmla="*/ 1255690 w 1255690"/>
              <a:gd name="connsiteY3" fmla="*/ 57398 h 573982"/>
              <a:gd name="connsiteX4" fmla="*/ 1255690 w 1255690"/>
              <a:gd name="connsiteY4" fmla="*/ 516584 h 573982"/>
              <a:gd name="connsiteX5" fmla="*/ 1198292 w 1255690"/>
              <a:gd name="connsiteY5" fmla="*/ 573982 h 573982"/>
              <a:gd name="connsiteX6" fmla="*/ 57398 w 1255690"/>
              <a:gd name="connsiteY6" fmla="*/ 573982 h 573982"/>
              <a:gd name="connsiteX7" fmla="*/ 0 w 1255690"/>
              <a:gd name="connsiteY7" fmla="*/ 516584 h 573982"/>
              <a:gd name="connsiteX8" fmla="*/ 0 w 1255690"/>
              <a:gd name="connsiteY8" fmla="*/ 57398 h 57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5690" h="573982">
                <a:moveTo>
                  <a:pt x="0" y="57398"/>
                </a:moveTo>
                <a:cubicBezTo>
                  <a:pt x="0" y="25698"/>
                  <a:pt x="25698" y="0"/>
                  <a:pt x="57398" y="0"/>
                </a:cubicBezTo>
                <a:lnTo>
                  <a:pt x="1198292" y="0"/>
                </a:lnTo>
                <a:cubicBezTo>
                  <a:pt x="1229992" y="0"/>
                  <a:pt x="1255690" y="25698"/>
                  <a:pt x="1255690" y="57398"/>
                </a:cubicBezTo>
                <a:lnTo>
                  <a:pt x="1255690" y="516584"/>
                </a:lnTo>
                <a:cubicBezTo>
                  <a:pt x="1255690" y="548284"/>
                  <a:pt x="1229992" y="573982"/>
                  <a:pt x="1198292" y="573982"/>
                </a:cubicBezTo>
                <a:lnTo>
                  <a:pt x="57398" y="573982"/>
                </a:lnTo>
                <a:cubicBezTo>
                  <a:pt x="25698" y="573982"/>
                  <a:pt x="0" y="548284"/>
                  <a:pt x="0" y="516584"/>
                </a:cubicBezTo>
                <a:lnTo>
                  <a:pt x="0" y="57398"/>
                </a:lnTo>
                <a:close/>
              </a:path>
            </a:pathLst>
          </a:cu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6000" tIns="36000" rIns="36000" bIns="36000" numCol="1" spcCol="1270" anchor="t" anchorCtr="0">
            <a:noAutofit/>
          </a:bodyPr>
          <a:lstStyle/>
          <a:p>
            <a:pPr marL="180975" lvl="0" indent="-180975" defTabSz="488950">
              <a:lnSpc>
                <a:spcPct val="90000"/>
              </a:lnSpc>
              <a:spcBef>
                <a:spcPct val="0"/>
              </a:spcBef>
              <a:spcAft>
                <a:spcPct val="35000"/>
              </a:spcAft>
              <a:buFont typeface="Arial" panose="020B0604020202020204" pitchFamily="34" charset="0"/>
              <a:buChar char="•"/>
            </a:pPr>
            <a:r>
              <a:rPr lang="en-GB" sz="1600" dirty="0">
                <a:latin typeface="Tahoma" panose="020B0604030504040204" pitchFamily="34" charset="0"/>
                <a:ea typeface="Tahoma" panose="020B0604030504040204" pitchFamily="34" charset="0"/>
                <a:cs typeface="Tahoma" panose="020B0604030504040204" pitchFamily="34" charset="0"/>
              </a:rPr>
              <a:t>Agree detailed capability expectations (aligned to strategy)</a:t>
            </a:r>
          </a:p>
        </p:txBody>
      </p:sp>
      <p:sp>
        <p:nvSpPr>
          <p:cNvPr id="45" name="Arrow: Right 44">
            <a:extLst>
              <a:ext uri="{FF2B5EF4-FFF2-40B4-BE49-F238E27FC236}">
                <a16:creationId xmlns:a16="http://schemas.microsoft.com/office/drawing/2014/main" id="{EDCD1D0D-4190-9BD3-8734-4708846AA7CF}"/>
              </a:ext>
            </a:extLst>
          </p:cNvPr>
          <p:cNvSpPr/>
          <p:nvPr/>
        </p:nvSpPr>
        <p:spPr>
          <a:xfrm rot="5400000">
            <a:off x="7912493" y="5426102"/>
            <a:ext cx="217984" cy="638617"/>
          </a:xfrm>
          <a:prstGeom prst="rightArrow">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Freeform: Shape 38">
            <a:extLst>
              <a:ext uri="{FF2B5EF4-FFF2-40B4-BE49-F238E27FC236}">
                <a16:creationId xmlns:a16="http://schemas.microsoft.com/office/drawing/2014/main" id="{60DFBADE-DD1E-3108-442E-DC9DE78BE3D7}"/>
              </a:ext>
            </a:extLst>
          </p:cNvPr>
          <p:cNvSpPr/>
          <p:nvPr/>
        </p:nvSpPr>
        <p:spPr>
          <a:xfrm>
            <a:off x="6790020" y="5843868"/>
            <a:ext cx="2448543" cy="418696"/>
          </a:xfrm>
          <a:custGeom>
            <a:avLst/>
            <a:gdLst>
              <a:gd name="connsiteX0" fmla="*/ 0 w 1255690"/>
              <a:gd name="connsiteY0" fmla="*/ 57398 h 573982"/>
              <a:gd name="connsiteX1" fmla="*/ 57398 w 1255690"/>
              <a:gd name="connsiteY1" fmla="*/ 0 h 573982"/>
              <a:gd name="connsiteX2" fmla="*/ 1198292 w 1255690"/>
              <a:gd name="connsiteY2" fmla="*/ 0 h 573982"/>
              <a:gd name="connsiteX3" fmla="*/ 1255690 w 1255690"/>
              <a:gd name="connsiteY3" fmla="*/ 57398 h 573982"/>
              <a:gd name="connsiteX4" fmla="*/ 1255690 w 1255690"/>
              <a:gd name="connsiteY4" fmla="*/ 516584 h 573982"/>
              <a:gd name="connsiteX5" fmla="*/ 1198292 w 1255690"/>
              <a:gd name="connsiteY5" fmla="*/ 573982 h 573982"/>
              <a:gd name="connsiteX6" fmla="*/ 57398 w 1255690"/>
              <a:gd name="connsiteY6" fmla="*/ 573982 h 573982"/>
              <a:gd name="connsiteX7" fmla="*/ 0 w 1255690"/>
              <a:gd name="connsiteY7" fmla="*/ 516584 h 573982"/>
              <a:gd name="connsiteX8" fmla="*/ 0 w 1255690"/>
              <a:gd name="connsiteY8" fmla="*/ 57398 h 57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5690" h="573982">
                <a:moveTo>
                  <a:pt x="0" y="57398"/>
                </a:moveTo>
                <a:cubicBezTo>
                  <a:pt x="0" y="25698"/>
                  <a:pt x="25698" y="0"/>
                  <a:pt x="57398" y="0"/>
                </a:cubicBezTo>
                <a:lnTo>
                  <a:pt x="1198292" y="0"/>
                </a:lnTo>
                <a:cubicBezTo>
                  <a:pt x="1229992" y="0"/>
                  <a:pt x="1255690" y="25698"/>
                  <a:pt x="1255690" y="57398"/>
                </a:cubicBezTo>
                <a:lnTo>
                  <a:pt x="1255690" y="516584"/>
                </a:lnTo>
                <a:cubicBezTo>
                  <a:pt x="1255690" y="548284"/>
                  <a:pt x="1229992" y="573982"/>
                  <a:pt x="1198292" y="573982"/>
                </a:cubicBezTo>
                <a:lnTo>
                  <a:pt x="57398" y="573982"/>
                </a:lnTo>
                <a:cubicBezTo>
                  <a:pt x="25698" y="573982"/>
                  <a:pt x="0" y="548284"/>
                  <a:pt x="0" y="516584"/>
                </a:cubicBezTo>
                <a:lnTo>
                  <a:pt x="0" y="57398"/>
                </a:lnTo>
                <a:close/>
              </a:path>
            </a:pathLst>
          </a:cu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5043" tIns="95043" rIns="95043" bIns="95043" numCol="1" spcCol="1270" anchor="t" anchorCtr="0">
            <a:noAutofit/>
          </a:bodyPr>
          <a:lstStyle/>
          <a:p>
            <a:pPr lvl="0" algn="ctr" defTabSz="488950">
              <a:lnSpc>
                <a:spcPct val="90000"/>
              </a:lnSpc>
              <a:spcBef>
                <a:spcPct val="0"/>
              </a:spcBef>
              <a:spcAft>
                <a:spcPct val="35000"/>
              </a:spcAft>
            </a:pPr>
            <a:r>
              <a:rPr lang="en-GB" sz="1600" b="1" dirty="0">
                <a:latin typeface="Tahoma" panose="020B0604030504040204" pitchFamily="34" charset="0"/>
                <a:ea typeface="Tahoma" panose="020B0604030504040204" pitchFamily="34" charset="0"/>
                <a:cs typeface="Tahoma" panose="020B0604030504040204" pitchFamily="34" charset="0"/>
              </a:rPr>
              <a:t>First cut training curricula by grade</a:t>
            </a:r>
          </a:p>
        </p:txBody>
      </p:sp>
      <p:sp>
        <p:nvSpPr>
          <p:cNvPr id="47" name="Freeform: Shape 38">
            <a:extLst>
              <a:ext uri="{FF2B5EF4-FFF2-40B4-BE49-F238E27FC236}">
                <a16:creationId xmlns:a16="http://schemas.microsoft.com/office/drawing/2014/main" id="{88E9FD51-07E8-B5BF-8E00-93D034C20538}"/>
              </a:ext>
            </a:extLst>
          </p:cNvPr>
          <p:cNvSpPr/>
          <p:nvPr/>
        </p:nvSpPr>
        <p:spPr>
          <a:xfrm>
            <a:off x="6790020" y="2696127"/>
            <a:ext cx="2526717" cy="418696"/>
          </a:xfrm>
          <a:custGeom>
            <a:avLst/>
            <a:gdLst>
              <a:gd name="connsiteX0" fmla="*/ 0 w 1255690"/>
              <a:gd name="connsiteY0" fmla="*/ 57398 h 573982"/>
              <a:gd name="connsiteX1" fmla="*/ 57398 w 1255690"/>
              <a:gd name="connsiteY1" fmla="*/ 0 h 573982"/>
              <a:gd name="connsiteX2" fmla="*/ 1198292 w 1255690"/>
              <a:gd name="connsiteY2" fmla="*/ 0 h 573982"/>
              <a:gd name="connsiteX3" fmla="*/ 1255690 w 1255690"/>
              <a:gd name="connsiteY3" fmla="*/ 57398 h 573982"/>
              <a:gd name="connsiteX4" fmla="*/ 1255690 w 1255690"/>
              <a:gd name="connsiteY4" fmla="*/ 516584 h 573982"/>
              <a:gd name="connsiteX5" fmla="*/ 1198292 w 1255690"/>
              <a:gd name="connsiteY5" fmla="*/ 573982 h 573982"/>
              <a:gd name="connsiteX6" fmla="*/ 57398 w 1255690"/>
              <a:gd name="connsiteY6" fmla="*/ 573982 h 573982"/>
              <a:gd name="connsiteX7" fmla="*/ 0 w 1255690"/>
              <a:gd name="connsiteY7" fmla="*/ 516584 h 573982"/>
              <a:gd name="connsiteX8" fmla="*/ 0 w 1255690"/>
              <a:gd name="connsiteY8" fmla="*/ 57398 h 57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5690" h="573982">
                <a:moveTo>
                  <a:pt x="0" y="57398"/>
                </a:moveTo>
                <a:cubicBezTo>
                  <a:pt x="0" y="25698"/>
                  <a:pt x="25698" y="0"/>
                  <a:pt x="57398" y="0"/>
                </a:cubicBezTo>
                <a:lnTo>
                  <a:pt x="1198292" y="0"/>
                </a:lnTo>
                <a:cubicBezTo>
                  <a:pt x="1229992" y="0"/>
                  <a:pt x="1255690" y="25698"/>
                  <a:pt x="1255690" y="57398"/>
                </a:cubicBezTo>
                <a:lnTo>
                  <a:pt x="1255690" y="516584"/>
                </a:lnTo>
                <a:cubicBezTo>
                  <a:pt x="1255690" y="548284"/>
                  <a:pt x="1229992" y="573982"/>
                  <a:pt x="1198292" y="573982"/>
                </a:cubicBezTo>
                <a:lnTo>
                  <a:pt x="57398" y="573982"/>
                </a:lnTo>
                <a:cubicBezTo>
                  <a:pt x="25698" y="573982"/>
                  <a:pt x="0" y="548284"/>
                  <a:pt x="0" y="516584"/>
                </a:cubicBezTo>
                <a:lnTo>
                  <a:pt x="0" y="57398"/>
                </a:lnTo>
                <a:close/>
              </a:path>
            </a:pathLst>
          </a:cu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6000" tIns="36000" rIns="36000" bIns="36000" numCol="1" spcCol="1270" anchor="t" anchorCtr="0">
            <a:noAutofit/>
          </a:bodyPr>
          <a:lstStyle/>
          <a:p>
            <a:pPr marL="180975" lvl="0" indent="-180975" defTabSz="488950">
              <a:spcBef>
                <a:spcPts val="600"/>
              </a:spcBef>
              <a:buFont typeface="Arial" panose="020B0604020202020204" pitchFamily="34" charset="0"/>
              <a:buChar char="•"/>
            </a:pPr>
            <a:r>
              <a:rPr lang="en-GB" sz="1600" dirty="0">
                <a:latin typeface="Tahoma" panose="020B0604030504040204" pitchFamily="34" charset="0"/>
                <a:ea typeface="Tahoma" panose="020B0604030504040204" pitchFamily="34" charset="0"/>
                <a:cs typeface="Tahoma" panose="020B0604030504040204" pitchFamily="34" charset="0"/>
              </a:rPr>
              <a:t>HC present draft training curricula by grade:</a:t>
            </a:r>
          </a:p>
          <a:p>
            <a:pPr marL="357188" lvl="1" indent="-182563" defTabSz="488950">
              <a:lnSpc>
                <a:spcPct val="90000"/>
              </a:lnSpc>
              <a:spcBef>
                <a:spcPct val="0"/>
              </a:spcBef>
              <a:buFont typeface="Wingdings" panose="05000000000000000000" pitchFamily="2" charset="2"/>
              <a:buChar char="Ø"/>
            </a:pPr>
            <a:r>
              <a:rPr lang="en-GB" sz="1400" dirty="0">
                <a:latin typeface="Tahoma" panose="020B0604030504040204" pitchFamily="34" charset="0"/>
                <a:ea typeface="Tahoma" panose="020B0604030504040204" pitchFamily="34" charset="0"/>
                <a:cs typeface="Tahoma" panose="020B0604030504040204" pitchFamily="34" charset="0"/>
              </a:rPr>
              <a:t>Flagship programmes</a:t>
            </a:r>
          </a:p>
          <a:p>
            <a:pPr marL="357188" lvl="1" indent="-182563" defTabSz="488950">
              <a:lnSpc>
                <a:spcPct val="90000"/>
              </a:lnSpc>
              <a:spcBef>
                <a:spcPct val="0"/>
              </a:spcBef>
              <a:buFont typeface="Wingdings" panose="05000000000000000000" pitchFamily="2" charset="2"/>
              <a:buChar char="Ø"/>
            </a:pPr>
            <a:r>
              <a:rPr lang="en-GB" sz="1400" dirty="0">
                <a:latin typeface="Tahoma" panose="020B0604030504040204" pitchFamily="34" charset="0"/>
                <a:ea typeface="Tahoma" panose="020B0604030504040204" pitchFamily="34" charset="0"/>
                <a:cs typeface="Tahoma" panose="020B0604030504040204" pitchFamily="34" charset="0"/>
              </a:rPr>
              <a:t>Standalone modules</a:t>
            </a:r>
          </a:p>
          <a:p>
            <a:pPr marL="357188" lvl="1" indent="-182563" defTabSz="488950">
              <a:lnSpc>
                <a:spcPct val="90000"/>
              </a:lnSpc>
              <a:spcBef>
                <a:spcPct val="0"/>
              </a:spcBef>
              <a:buFont typeface="Wingdings" panose="05000000000000000000" pitchFamily="2" charset="2"/>
              <a:buChar char="Ø"/>
            </a:pPr>
            <a:r>
              <a:rPr lang="en-GB" sz="1400" dirty="0">
                <a:latin typeface="Tahoma" panose="020B0604030504040204" pitchFamily="34" charset="0"/>
                <a:ea typeface="Tahoma" panose="020B0604030504040204" pitchFamily="34" charset="0"/>
                <a:cs typeface="Tahoma" panose="020B0604030504040204" pitchFamily="34" charset="0"/>
              </a:rPr>
              <a:t>Self-serve content</a:t>
            </a:r>
          </a:p>
          <a:p>
            <a:pPr marL="180975" lvl="0" indent="-180975" defTabSz="488950">
              <a:spcBef>
                <a:spcPts val="600"/>
              </a:spcBef>
              <a:buFont typeface="Arial" panose="020B0604020202020204" pitchFamily="34" charset="0"/>
              <a:buChar char="•"/>
            </a:pPr>
            <a:r>
              <a:rPr lang="en-GB" sz="1600" dirty="0">
                <a:latin typeface="Tahoma" panose="020B0604030504040204" pitchFamily="34" charset="0"/>
                <a:ea typeface="Tahoma" panose="020B0604030504040204" pitchFamily="34" charset="0"/>
                <a:cs typeface="Tahoma" panose="020B0604030504040204" pitchFamily="34" charset="0"/>
              </a:rPr>
              <a:t>Discuss delivery modality &amp; trainer options</a:t>
            </a:r>
          </a:p>
          <a:p>
            <a:pPr marL="180975" lvl="0" indent="-180975" defTabSz="488950">
              <a:spcBef>
                <a:spcPts val="600"/>
              </a:spcBef>
              <a:buFont typeface="Arial" panose="020B0604020202020204" pitchFamily="34" charset="0"/>
              <a:buChar char="•"/>
            </a:pPr>
            <a:r>
              <a:rPr lang="en-GB" sz="1600" dirty="0">
                <a:latin typeface="Tahoma" panose="020B0604030504040204" pitchFamily="34" charset="0"/>
                <a:ea typeface="Tahoma" panose="020B0604030504040204" pitchFamily="34" charset="0"/>
                <a:cs typeface="Tahoma" panose="020B0604030504040204" pitchFamily="34" charset="0"/>
              </a:rPr>
              <a:t>Review draft calendar</a:t>
            </a:r>
          </a:p>
          <a:p>
            <a:pPr marL="180975" lvl="0" indent="-180975" defTabSz="488950">
              <a:lnSpc>
                <a:spcPct val="90000"/>
              </a:lnSpc>
              <a:spcBef>
                <a:spcPct val="0"/>
              </a:spcBef>
              <a:spcAft>
                <a:spcPct val="35000"/>
              </a:spcAft>
              <a:buFont typeface="Arial" panose="020B0604020202020204" pitchFamily="34" charset="0"/>
              <a:buChar char="•"/>
            </a:pPr>
            <a:endParaRPr lang="en-GB" sz="1600" dirty="0">
              <a:latin typeface="Tahoma" panose="020B0604030504040204" pitchFamily="34" charset="0"/>
              <a:ea typeface="Tahoma" panose="020B0604030504040204" pitchFamily="34" charset="0"/>
              <a:cs typeface="Tahoma" panose="020B0604030504040204" pitchFamily="34" charset="0"/>
            </a:endParaRPr>
          </a:p>
          <a:p>
            <a:pPr marL="180975" lvl="0" indent="-180975" defTabSz="488950">
              <a:lnSpc>
                <a:spcPct val="90000"/>
              </a:lnSpc>
              <a:spcBef>
                <a:spcPct val="0"/>
              </a:spcBef>
              <a:spcAft>
                <a:spcPct val="35000"/>
              </a:spcAft>
              <a:buFont typeface="Arial" panose="020B0604020202020204" pitchFamily="34" charset="0"/>
              <a:buChar char="•"/>
            </a:pPr>
            <a:endParaRPr lang="en-GB" sz="1600" dirty="0">
              <a:latin typeface="Tahoma" panose="020B0604030504040204" pitchFamily="34" charset="0"/>
              <a:ea typeface="Tahoma" panose="020B0604030504040204" pitchFamily="34" charset="0"/>
              <a:cs typeface="Tahoma" panose="020B0604030504040204" pitchFamily="34" charset="0"/>
            </a:endParaRPr>
          </a:p>
          <a:p>
            <a:pPr marL="180975" lvl="0" indent="-180975" defTabSz="488950">
              <a:lnSpc>
                <a:spcPct val="90000"/>
              </a:lnSpc>
              <a:spcBef>
                <a:spcPct val="0"/>
              </a:spcBef>
              <a:spcAft>
                <a:spcPct val="35000"/>
              </a:spcAft>
              <a:buFont typeface="Arial" panose="020B0604020202020204" pitchFamily="34" charset="0"/>
              <a:buChar char="•"/>
            </a:pPr>
            <a:endParaRPr lang="en-GB" sz="1600" dirty="0">
              <a:latin typeface="Tahoma" panose="020B0604030504040204" pitchFamily="34" charset="0"/>
              <a:ea typeface="Tahoma" panose="020B0604030504040204" pitchFamily="34" charset="0"/>
              <a:cs typeface="Tahoma" panose="020B0604030504040204" pitchFamily="34" charset="0"/>
            </a:endParaRPr>
          </a:p>
        </p:txBody>
      </p:sp>
      <p:sp>
        <p:nvSpPr>
          <p:cNvPr id="48" name="Freeform: Shape 38">
            <a:extLst>
              <a:ext uri="{FF2B5EF4-FFF2-40B4-BE49-F238E27FC236}">
                <a16:creationId xmlns:a16="http://schemas.microsoft.com/office/drawing/2014/main" id="{FC3B26B3-40CD-09E9-AC67-F3E252739F7A}"/>
              </a:ext>
            </a:extLst>
          </p:cNvPr>
          <p:cNvSpPr/>
          <p:nvPr/>
        </p:nvSpPr>
        <p:spPr>
          <a:xfrm>
            <a:off x="6790020" y="5044652"/>
            <a:ext cx="2448543" cy="418696"/>
          </a:xfrm>
          <a:custGeom>
            <a:avLst/>
            <a:gdLst>
              <a:gd name="connsiteX0" fmla="*/ 0 w 1255690"/>
              <a:gd name="connsiteY0" fmla="*/ 57398 h 573982"/>
              <a:gd name="connsiteX1" fmla="*/ 57398 w 1255690"/>
              <a:gd name="connsiteY1" fmla="*/ 0 h 573982"/>
              <a:gd name="connsiteX2" fmla="*/ 1198292 w 1255690"/>
              <a:gd name="connsiteY2" fmla="*/ 0 h 573982"/>
              <a:gd name="connsiteX3" fmla="*/ 1255690 w 1255690"/>
              <a:gd name="connsiteY3" fmla="*/ 57398 h 573982"/>
              <a:gd name="connsiteX4" fmla="*/ 1255690 w 1255690"/>
              <a:gd name="connsiteY4" fmla="*/ 516584 h 573982"/>
              <a:gd name="connsiteX5" fmla="*/ 1198292 w 1255690"/>
              <a:gd name="connsiteY5" fmla="*/ 573982 h 573982"/>
              <a:gd name="connsiteX6" fmla="*/ 57398 w 1255690"/>
              <a:gd name="connsiteY6" fmla="*/ 573982 h 573982"/>
              <a:gd name="connsiteX7" fmla="*/ 0 w 1255690"/>
              <a:gd name="connsiteY7" fmla="*/ 516584 h 573982"/>
              <a:gd name="connsiteX8" fmla="*/ 0 w 1255690"/>
              <a:gd name="connsiteY8" fmla="*/ 57398 h 57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5690" h="573982">
                <a:moveTo>
                  <a:pt x="0" y="57398"/>
                </a:moveTo>
                <a:cubicBezTo>
                  <a:pt x="0" y="25698"/>
                  <a:pt x="25698" y="0"/>
                  <a:pt x="57398" y="0"/>
                </a:cubicBezTo>
                <a:lnTo>
                  <a:pt x="1198292" y="0"/>
                </a:lnTo>
                <a:cubicBezTo>
                  <a:pt x="1229992" y="0"/>
                  <a:pt x="1255690" y="25698"/>
                  <a:pt x="1255690" y="57398"/>
                </a:cubicBezTo>
                <a:lnTo>
                  <a:pt x="1255690" y="516584"/>
                </a:lnTo>
                <a:cubicBezTo>
                  <a:pt x="1255690" y="548284"/>
                  <a:pt x="1229992" y="573982"/>
                  <a:pt x="1198292" y="573982"/>
                </a:cubicBezTo>
                <a:lnTo>
                  <a:pt x="57398" y="573982"/>
                </a:lnTo>
                <a:cubicBezTo>
                  <a:pt x="25698" y="573982"/>
                  <a:pt x="0" y="548284"/>
                  <a:pt x="0" y="516584"/>
                </a:cubicBezTo>
                <a:lnTo>
                  <a:pt x="0" y="57398"/>
                </a:lnTo>
                <a:close/>
              </a:path>
            </a:pathLst>
          </a:cu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6000" tIns="36000" rIns="36000" bIns="36000" numCol="1" spcCol="1270" anchor="t" anchorCtr="0">
            <a:noAutofit/>
          </a:bodyPr>
          <a:lstStyle/>
          <a:p>
            <a:pPr marL="180975" lvl="0" indent="-180975" defTabSz="488950">
              <a:lnSpc>
                <a:spcPct val="90000"/>
              </a:lnSpc>
              <a:spcBef>
                <a:spcPct val="0"/>
              </a:spcBef>
              <a:spcAft>
                <a:spcPct val="35000"/>
              </a:spcAft>
              <a:buFont typeface="Arial" panose="020B0604020202020204" pitchFamily="34" charset="0"/>
              <a:buChar char="•"/>
            </a:pPr>
            <a:r>
              <a:rPr lang="en-GB" sz="1600" dirty="0">
                <a:latin typeface="Tahoma" panose="020B0604030504040204" pitchFamily="34" charset="0"/>
                <a:ea typeface="Tahoma" panose="020B0604030504040204" pitchFamily="34" charset="0"/>
                <a:cs typeface="Tahoma" panose="020B0604030504040204" pitchFamily="34" charset="0"/>
              </a:rPr>
              <a:t>Month 2</a:t>
            </a:r>
          </a:p>
        </p:txBody>
      </p:sp>
      <p:sp>
        <p:nvSpPr>
          <p:cNvPr id="49" name="Freeform: Shape 38">
            <a:extLst>
              <a:ext uri="{FF2B5EF4-FFF2-40B4-BE49-F238E27FC236}">
                <a16:creationId xmlns:a16="http://schemas.microsoft.com/office/drawing/2014/main" id="{ACB2199C-B191-795A-10CF-B4275A94DD55}"/>
              </a:ext>
            </a:extLst>
          </p:cNvPr>
          <p:cNvSpPr/>
          <p:nvPr/>
        </p:nvSpPr>
        <p:spPr>
          <a:xfrm>
            <a:off x="6790019" y="1774077"/>
            <a:ext cx="2448543" cy="418696"/>
          </a:xfrm>
          <a:custGeom>
            <a:avLst/>
            <a:gdLst>
              <a:gd name="connsiteX0" fmla="*/ 0 w 1255690"/>
              <a:gd name="connsiteY0" fmla="*/ 57398 h 573982"/>
              <a:gd name="connsiteX1" fmla="*/ 57398 w 1255690"/>
              <a:gd name="connsiteY1" fmla="*/ 0 h 573982"/>
              <a:gd name="connsiteX2" fmla="*/ 1198292 w 1255690"/>
              <a:gd name="connsiteY2" fmla="*/ 0 h 573982"/>
              <a:gd name="connsiteX3" fmla="*/ 1255690 w 1255690"/>
              <a:gd name="connsiteY3" fmla="*/ 57398 h 573982"/>
              <a:gd name="connsiteX4" fmla="*/ 1255690 w 1255690"/>
              <a:gd name="connsiteY4" fmla="*/ 516584 h 573982"/>
              <a:gd name="connsiteX5" fmla="*/ 1198292 w 1255690"/>
              <a:gd name="connsiteY5" fmla="*/ 573982 h 573982"/>
              <a:gd name="connsiteX6" fmla="*/ 57398 w 1255690"/>
              <a:gd name="connsiteY6" fmla="*/ 573982 h 573982"/>
              <a:gd name="connsiteX7" fmla="*/ 0 w 1255690"/>
              <a:gd name="connsiteY7" fmla="*/ 516584 h 573982"/>
              <a:gd name="connsiteX8" fmla="*/ 0 w 1255690"/>
              <a:gd name="connsiteY8" fmla="*/ 57398 h 57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5690" h="573982">
                <a:moveTo>
                  <a:pt x="0" y="57398"/>
                </a:moveTo>
                <a:cubicBezTo>
                  <a:pt x="0" y="25698"/>
                  <a:pt x="25698" y="0"/>
                  <a:pt x="57398" y="0"/>
                </a:cubicBezTo>
                <a:lnTo>
                  <a:pt x="1198292" y="0"/>
                </a:lnTo>
                <a:cubicBezTo>
                  <a:pt x="1229992" y="0"/>
                  <a:pt x="1255690" y="25698"/>
                  <a:pt x="1255690" y="57398"/>
                </a:cubicBezTo>
                <a:lnTo>
                  <a:pt x="1255690" y="516584"/>
                </a:lnTo>
                <a:cubicBezTo>
                  <a:pt x="1255690" y="548284"/>
                  <a:pt x="1229992" y="573982"/>
                  <a:pt x="1198292" y="573982"/>
                </a:cubicBezTo>
                <a:lnTo>
                  <a:pt x="57398" y="573982"/>
                </a:lnTo>
                <a:cubicBezTo>
                  <a:pt x="25698" y="573982"/>
                  <a:pt x="0" y="548284"/>
                  <a:pt x="0" y="516584"/>
                </a:cubicBezTo>
                <a:lnTo>
                  <a:pt x="0" y="57398"/>
                </a:lnTo>
                <a:close/>
              </a:path>
            </a:pathLst>
          </a:cu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6000" tIns="36000" rIns="36000" bIns="36000" numCol="1" spcCol="1270" anchor="t" anchorCtr="0">
            <a:noAutofit/>
          </a:bodyPr>
          <a:lstStyle/>
          <a:p>
            <a:pPr marL="180975" lvl="0" indent="-180975" defTabSz="488950">
              <a:lnSpc>
                <a:spcPct val="90000"/>
              </a:lnSpc>
              <a:spcBef>
                <a:spcPct val="0"/>
              </a:spcBef>
              <a:spcAft>
                <a:spcPct val="35000"/>
              </a:spcAft>
              <a:buFont typeface="Arial" panose="020B0604020202020204" pitchFamily="34" charset="0"/>
              <a:buChar char="•"/>
            </a:pPr>
            <a:r>
              <a:rPr lang="en-GB" sz="1600" dirty="0">
                <a:latin typeface="Tahoma" panose="020B0604030504040204" pitchFamily="34" charset="0"/>
                <a:ea typeface="Tahoma" panose="020B0604030504040204" pitchFamily="34" charset="0"/>
                <a:cs typeface="Tahoma" panose="020B0604030504040204" pitchFamily="34" charset="0"/>
              </a:rPr>
              <a:t>Review first draft training curricula by grade</a:t>
            </a:r>
          </a:p>
        </p:txBody>
      </p:sp>
      <p:sp>
        <p:nvSpPr>
          <p:cNvPr id="51" name="Arrow: Right 50">
            <a:extLst>
              <a:ext uri="{FF2B5EF4-FFF2-40B4-BE49-F238E27FC236}">
                <a16:creationId xmlns:a16="http://schemas.microsoft.com/office/drawing/2014/main" id="{5322B8E8-CE0B-71F7-7D6C-12FAB2754852}"/>
              </a:ext>
            </a:extLst>
          </p:cNvPr>
          <p:cNvSpPr/>
          <p:nvPr/>
        </p:nvSpPr>
        <p:spPr>
          <a:xfrm rot="5400000">
            <a:off x="10451087" y="5426102"/>
            <a:ext cx="217984" cy="638617"/>
          </a:xfrm>
          <a:prstGeom prst="rightArrow">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2" name="Freeform: Shape 38">
            <a:extLst>
              <a:ext uri="{FF2B5EF4-FFF2-40B4-BE49-F238E27FC236}">
                <a16:creationId xmlns:a16="http://schemas.microsoft.com/office/drawing/2014/main" id="{E0D29FD1-0C72-78FC-7B2F-56D9410AEF6C}"/>
              </a:ext>
            </a:extLst>
          </p:cNvPr>
          <p:cNvSpPr/>
          <p:nvPr/>
        </p:nvSpPr>
        <p:spPr>
          <a:xfrm>
            <a:off x="9328614" y="5843868"/>
            <a:ext cx="2448543" cy="418696"/>
          </a:xfrm>
          <a:custGeom>
            <a:avLst/>
            <a:gdLst>
              <a:gd name="connsiteX0" fmla="*/ 0 w 1255690"/>
              <a:gd name="connsiteY0" fmla="*/ 57398 h 573982"/>
              <a:gd name="connsiteX1" fmla="*/ 57398 w 1255690"/>
              <a:gd name="connsiteY1" fmla="*/ 0 h 573982"/>
              <a:gd name="connsiteX2" fmla="*/ 1198292 w 1255690"/>
              <a:gd name="connsiteY2" fmla="*/ 0 h 573982"/>
              <a:gd name="connsiteX3" fmla="*/ 1255690 w 1255690"/>
              <a:gd name="connsiteY3" fmla="*/ 57398 h 573982"/>
              <a:gd name="connsiteX4" fmla="*/ 1255690 w 1255690"/>
              <a:gd name="connsiteY4" fmla="*/ 516584 h 573982"/>
              <a:gd name="connsiteX5" fmla="*/ 1198292 w 1255690"/>
              <a:gd name="connsiteY5" fmla="*/ 573982 h 573982"/>
              <a:gd name="connsiteX6" fmla="*/ 57398 w 1255690"/>
              <a:gd name="connsiteY6" fmla="*/ 573982 h 573982"/>
              <a:gd name="connsiteX7" fmla="*/ 0 w 1255690"/>
              <a:gd name="connsiteY7" fmla="*/ 516584 h 573982"/>
              <a:gd name="connsiteX8" fmla="*/ 0 w 1255690"/>
              <a:gd name="connsiteY8" fmla="*/ 57398 h 57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5690" h="573982">
                <a:moveTo>
                  <a:pt x="0" y="57398"/>
                </a:moveTo>
                <a:cubicBezTo>
                  <a:pt x="0" y="25698"/>
                  <a:pt x="25698" y="0"/>
                  <a:pt x="57398" y="0"/>
                </a:cubicBezTo>
                <a:lnTo>
                  <a:pt x="1198292" y="0"/>
                </a:lnTo>
                <a:cubicBezTo>
                  <a:pt x="1229992" y="0"/>
                  <a:pt x="1255690" y="25698"/>
                  <a:pt x="1255690" y="57398"/>
                </a:cubicBezTo>
                <a:lnTo>
                  <a:pt x="1255690" y="516584"/>
                </a:lnTo>
                <a:cubicBezTo>
                  <a:pt x="1255690" y="548284"/>
                  <a:pt x="1229992" y="573982"/>
                  <a:pt x="1198292" y="573982"/>
                </a:cubicBezTo>
                <a:lnTo>
                  <a:pt x="57398" y="573982"/>
                </a:lnTo>
                <a:cubicBezTo>
                  <a:pt x="25698" y="573982"/>
                  <a:pt x="0" y="548284"/>
                  <a:pt x="0" y="516584"/>
                </a:cubicBezTo>
                <a:lnTo>
                  <a:pt x="0" y="57398"/>
                </a:lnTo>
                <a:close/>
              </a:path>
            </a:pathLst>
          </a:cu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5043" tIns="95043" rIns="95043" bIns="95043" numCol="1" spcCol="1270" anchor="t" anchorCtr="0">
            <a:noAutofit/>
          </a:bodyPr>
          <a:lstStyle/>
          <a:p>
            <a:pPr lvl="0" algn="ctr" defTabSz="488950">
              <a:lnSpc>
                <a:spcPct val="90000"/>
              </a:lnSpc>
              <a:spcBef>
                <a:spcPct val="0"/>
              </a:spcBef>
              <a:spcAft>
                <a:spcPct val="35000"/>
              </a:spcAft>
            </a:pPr>
            <a:r>
              <a:rPr lang="en-GB" sz="1600" b="1" dirty="0">
                <a:latin typeface="Tahoma" panose="020B0604030504040204" pitchFamily="34" charset="0"/>
                <a:ea typeface="Tahoma" panose="020B0604030504040204" pitchFamily="34" charset="0"/>
                <a:cs typeface="Tahoma" panose="020B0604030504040204" pitchFamily="34" charset="0"/>
              </a:rPr>
              <a:t>Final training plan with clear owners &amp; actions for 2024</a:t>
            </a:r>
          </a:p>
        </p:txBody>
      </p:sp>
      <p:sp>
        <p:nvSpPr>
          <p:cNvPr id="53" name="Freeform: Shape 38">
            <a:extLst>
              <a:ext uri="{FF2B5EF4-FFF2-40B4-BE49-F238E27FC236}">
                <a16:creationId xmlns:a16="http://schemas.microsoft.com/office/drawing/2014/main" id="{D2C18918-2D67-E5DF-78EF-D7004330F440}"/>
              </a:ext>
            </a:extLst>
          </p:cNvPr>
          <p:cNvSpPr/>
          <p:nvPr/>
        </p:nvSpPr>
        <p:spPr>
          <a:xfrm>
            <a:off x="9328614" y="2696127"/>
            <a:ext cx="2526717" cy="418696"/>
          </a:xfrm>
          <a:custGeom>
            <a:avLst/>
            <a:gdLst>
              <a:gd name="connsiteX0" fmla="*/ 0 w 1255690"/>
              <a:gd name="connsiteY0" fmla="*/ 57398 h 573982"/>
              <a:gd name="connsiteX1" fmla="*/ 57398 w 1255690"/>
              <a:gd name="connsiteY1" fmla="*/ 0 h 573982"/>
              <a:gd name="connsiteX2" fmla="*/ 1198292 w 1255690"/>
              <a:gd name="connsiteY2" fmla="*/ 0 h 573982"/>
              <a:gd name="connsiteX3" fmla="*/ 1255690 w 1255690"/>
              <a:gd name="connsiteY3" fmla="*/ 57398 h 573982"/>
              <a:gd name="connsiteX4" fmla="*/ 1255690 w 1255690"/>
              <a:gd name="connsiteY4" fmla="*/ 516584 h 573982"/>
              <a:gd name="connsiteX5" fmla="*/ 1198292 w 1255690"/>
              <a:gd name="connsiteY5" fmla="*/ 573982 h 573982"/>
              <a:gd name="connsiteX6" fmla="*/ 57398 w 1255690"/>
              <a:gd name="connsiteY6" fmla="*/ 573982 h 573982"/>
              <a:gd name="connsiteX7" fmla="*/ 0 w 1255690"/>
              <a:gd name="connsiteY7" fmla="*/ 516584 h 573982"/>
              <a:gd name="connsiteX8" fmla="*/ 0 w 1255690"/>
              <a:gd name="connsiteY8" fmla="*/ 57398 h 57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5690" h="573982">
                <a:moveTo>
                  <a:pt x="0" y="57398"/>
                </a:moveTo>
                <a:cubicBezTo>
                  <a:pt x="0" y="25698"/>
                  <a:pt x="25698" y="0"/>
                  <a:pt x="57398" y="0"/>
                </a:cubicBezTo>
                <a:lnTo>
                  <a:pt x="1198292" y="0"/>
                </a:lnTo>
                <a:cubicBezTo>
                  <a:pt x="1229992" y="0"/>
                  <a:pt x="1255690" y="25698"/>
                  <a:pt x="1255690" y="57398"/>
                </a:cubicBezTo>
                <a:lnTo>
                  <a:pt x="1255690" y="516584"/>
                </a:lnTo>
                <a:cubicBezTo>
                  <a:pt x="1255690" y="548284"/>
                  <a:pt x="1229992" y="573982"/>
                  <a:pt x="1198292" y="573982"/>
                </a:cubicBezTo>
                <a:lnTo>
                  <a:pt x="57398" y="573982"/>
                </a:lnTo>
                <a:cubicBezTo>
                  <a:pt x="25698" y="573982"/>
                  <a:pt x="0" y="548284"/>
                  <a:pt x="0" y="516584"/>
                </a:cubicBezTo>
                <a:lnTo>
                  <a:pt x="0" y="57398"/>
                </a:lnTo>
                <a:close/>
              </a:path>
            </a:pathLst>
          </a:cu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6000" tIns="36000" rIns="36000" bIns="36000" numCol="1" spcCol="1270" anchor="t" anchorCtr="0">
            <a:noAutofit/>
          </a:bodyPr>
          <a:lstStyle/>
          <a:p>
            <a:pPr marL="180975" lvl="0" indent="-180975" defTabSz="488950">
              <a:spcBef>
                <a:spcPts val="600"/>
              </a:spcBef>
              <a:buFont typeface="Arial" panose="020B0604020202020204" pitchFamily="34" charset="0"/>
              <a:buChar char="•"/>
            </a:pPr>
            <a:r>
              <a:rPr lang="en-GB" sz="1600" dirty="0">
                <a:latin typeface="Tahoma" panose="020B0604030504040204" pitchFamily="34" charset="0"/>
                <a:ea typeface="Tahoma" panose="020B0604030504040204" pitchFamily="34" charset="0"/>
                <a:cs typeface="Tahoma" panose="020B0604030504040204" pitchFamily="34" charset="0"/>
              </a:rPr>
              <a:t>Agree final training curricula and initial annual calendar</a:t>
            </a:r>
          </a:p>
          <a:p>
            <a:pPr marL="180975" lvl="0" indent="-180975" defTabSz="488950">
              <a:spcBef>
                <a:spcPts val="600"/>
              </a:spcBef>
              <a:buFont typeface="Arial" panose="020B0604020202020204" pitchFamily="34" charset="0"/>
              <a:buChar char="•"/>
            </a:pPr>
            <a:r>
              <a:rPr lang="en-GB" sz="1600" dirty="0">
                <a:latin typeface="Tahoma" panose="020B0604030504040204" pitchFamily="34" charset="0"/>
                <a:ea typeface="Tahoma" panose="020B0604030504040204" pitchFamily="34" charset="0"/>
                <a:cs typeface="Tahoma" panose="020B0604030504040204" pitchFamily="34" charset="0"/>
              </a:rPr>
              <a:t>Discuss 2024 priorities</a:t>
            </a:r>
          </a:p>
          <a:p>
            <a:pPr marL="180975" lvl="0" indent="-180975" defTabSz="488950">
              <a:spcBef>
                <a:spcPts val="600"/>
              </a:spcBef>
              <a:buFont typeface="Arial" panose="020B0604020202020204" pitchFamily="34" charset="0"/>
              <a:buChar char="•"/>
            </a:pPr>
            <a:r>
              <a:rPr lang="en-GB" sz="1600" dirty="0">
                <a:latin typeface="Tahoma" panose="020B0604030504040204" pitchFamily="34" charset="0"/>
                <a:ea typeface="Tahoma" panose="020B0604030504040204" pitchFamily="34" charset="0"/>
                <a:cs typeface="Tahoma" panose="020B0604030504040204" pitchFamily="34" charset="0"/>
              </a:rPr>
              <a:t>Decide on action plan &amp; assign owners</a:t>
            </a:r>
          </a:p>
          <a:p>
            <a:pPr marL="180975" lvl="0" indent="-180975" defTabSz="488950">
              <a:spcBef>
                <a:spcPts val="600"/>
              </a:spcBef>
              <a:buFont typeface="Arial" panose="020B0604020202020204" pitchFamily="34" charset="0"/>
              <a:buChar char="•"/>
            </a:pPr>
            <a:r>
              <a:rPr lang="en-GB" sz="1600" dirty="0">
                <a:latin typeface="Tahoma" panose="020B0604030504040204" pitchFamily="34" charset="0"/>
                <a:ea typeface="Tahoma" panose="020B0604030504040204" pitchFamily="34" charset="0"/>
                <a:cs typeface="Tahoma" panose="020B0604030504040204" pitchFamily="34" charset="0"/>
              </a:rPr>
              <a:t>Agree next steps</a:t>
            </a:r>
          </a:p>
          <a:p>
            <a:pPr marL="180975" lvl="0" indent="-180975" defTabSz="488950">
              <a:lnSpc>
                <a:spcPct val="90000"/>
              </a:lnSpc>
              <a:spcBef>
                <a:spcPct val="0"/>
              </a:spcBef>
              <a:spcAft>
                <a:spcPct val="35000"/>
              </a:spcAft>
              <a:buFont typeface="Arial" panose="020B0604020202020204" pitchFamily="34" charset="0"/>
              <a:buChar char="•"/>
            </a:pPr>
            <a:endParaRPr lang="en-GB" sz="1600" dirty="0">
              <a:latin typeface="Tahoma" panose="020B0604030504040204" pitchFamily="34" charset="0"/>
              <a:ea typeface="Tahoma" panose="020B0604030504040204" pitchFamily="34" charset="0"/>
              <a:cs typeface="Tahoma" panose="020B0604030504040204" pitchFamily="34" charset="0"/>
            </a:endParaRPr>
          </a:p>
        </p:txBody>
      </p:sp>
      <p:sp>
        <p:nvSpPr>
          <p:cNvPr id="54" name="Freeform: Shape 38">
            <a:extLst>
              <a:ext uri="{FF2B5EF4-FFF2-40B4-BE49-F238E27FC236}">
                <a16:creationId xmlns:a16="http://schemas.microsoft.com/office/drawing/2014/main" id="{DF31F904-3175-9515-7449-595ADA127E88}"/>
              </a:ext>
            </a:extLst>
          </p:cNvPr>
          <p:cNvSpPr/>
          <p:nvPr/>
        </p:nvSpPr>
        <p:spPr>
          <a:xfrm>
            <a:off x="9328614" y="5044652"/>
            <a:ext cx="2448543" cy="418696"/>
          </a:xfrm>
          <a:custGeom>
            <a:avLst/>
            <a:gdLst>
              <a:gd name="connsiteX0" fmla="*/ 0 w 1255690"/>
              <a:gd name="connsiteY0" fmla="*/ 57398 h 573982"/>
              <a:gd name="connsiteX1" fmla="*/ 57398 w 1255690"/>
              <a:gd name="connsiteY1" fmla="*/ 0 h 573982"/>
              <a:gd name="connsiteX2" fmla="*/ 1198292 w 1255690"/>
              <a:gd name="connsiteY2" fmla="*/ 0 h 573982"/>
              <a:gd name="connsiteX3" fmla="*/ 1255690 w 1255690"/>
              <a:gd name="connsiteY3" fmla="*/ 57398 h 573982"/>
              <a:gd name="connsiteX4" fmla="*/ 1255690 w 1255690"/>
              <a:gd name="connsiteY4" fmla="*/ 516584 h 573982"/>
              <a:gd name="connsiteX5" fmla="*/ 1198292 w 1255690"/>
              <a:gd name="connsiteY5" fmla="*/ 573982 h 573982"/>
              <a:gd name="connsiteX6" fmla="*/ 57398 w 1255690"/>
              <a:gd name="connsiteY6" fmla="*/ 573982 h 573982"/>
              <a:gd name="connsiteX7" fmla="*/ 0 w 1255690"/>
              <a:gd name="connsiteY7" fmla="*/ 516584 h 573982"/>
              <a:gd name="connsiteX8" fmla="*/ 0 w 1255690"/>
              <a:gd name="connsiteY8" fmla="*/ 57398 h 57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5690" h="573982">
                <a:moveTo>
                  <a:pt x="0" y="57398"/>
                </a:moveTo>
                <a:cubicBezTo>
                  <a:pt x="0" y="25698"/>
                  <a:pt x="25698" y="0"/>
                  <a:pt x="57398" y="0"/>
                </a:cubicBezTo>
                <a:lnTo>
                  <a:pt x="1198292" y="0"/>
                </a:lnTo>
                <a:cubicBezTo>
                  <a:pt x="1229992" y="0"/>
                  <a:pt x="1255690" y="25698"/>
                  <a:pt x="1255690" y="57398"/>
                </a:cubicBezTo>
                <a:lnTo>
                  <a:pt x="1255690" y="516584"/>
                </a:lnTo>
                <a:cubicBezTo>
                  <a:pt x="1255690" y="548284"/>
                  <a:pt x="1229992" y="573982"/>
                  <a:pt x="1198292" y="573982"/>
                </a:cubicBezTo>
                <a:lnTo>
                  <a:pt x="57398" y="573982"/>
                </a:lnTo>
                <a:cubicBezTo>
                  <a:pt x="25698" y="573982"/>
                  <a:pt x="0" y="548284"/>
                  <a:pt x="0" y="516584"/>
                </a:cubicBezTo>
                <a:lnTo>
                  <a:pt x="0" y="57398"/>
                </a:lnTo>
                <a:close/>
              </a:path>
            </a:pathLst>
          </a:cu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6000" tIns="36000" rIns="36000" bIns="36000" numCol="1" spcCol="1270" anchor="t" anchorCtr="0">
            <a:noAutofit/>
          </a:bodyPr>
          <a:lstStyle/>
          <a:p>
            <a:pPr marL="180975" lvl="0" indent="-180975" defTabSz="488950">
              <a:lnSpc>
                <a:spcPct val="90000"/>
              </a:lnSpc>
              <a:spcBef>
                <a:spcPct val="0"/>
              </a:spcBef>
              <a:spcAft>
                <a:spcPct val="35000"/>
              </a:spcAft>
              <a:buFont typeface="Arial" panose="020B0604020202020204" pitchFamily="34" charset="0"/>
              <a:buChar char="•"/>
            </a:pPr>
            <a:r>
              <a:rPr lang="en-GB" sz="1600" dirty="0">
                <a:latin typeface="Tahoma" panose="020B0604030504040204" pitchFamily="34" charset="0"/>
                <a:ea typeface="Tahoma" panose="020B0604030504040204" pitchFamily="34" charset="0"/>
                <a:cs typeface="Tahoma" panose="020B0604030504040204" pitchFamily="34" charset="0"/>
              </a:rPr>
              <a:t>Month 2</a:t>
            </a:r>
          </a:p>
        </p:txBody>
      </p:sp>
      <p:sp>
        <p:nvSpPr>
          <p:cNvPr id="55" name="Freeform: Shape 38">
            <a:extLst>
              <a:ext uri="{FF2B5EF4-FFF2-40B4-BE49-F238E27FC236}">
                <a16:creationId xmlns:a16="http://schemas.microsoft.com/office/drawing/2014/main" id="{7D181EA7-77F6-BFEC-7075-538A4F05534E}"/>
              </a:ext>
            </a:extLst>
          </p:cNvPr>
          <p:cNvSpPr/>
          <p:nvPr/>
        </p:nvSpPr>
        <p:spPr>
          <a:xfrm>
            <a:off x="9328613" y="1774077"/>
            <a:ext cx="2448543" cy="418696"/>
          </a:xfrm>
          <a:custGeom>
            <a:avLst/>
            <a:gdLst>
              <a:gd name="connsiteX0" fmla="*/ 0 w 1255690"/>
              <a:gd name="connsiteY0" fmla="*/ 57398 h 573982"/>
              <a:gd name="connsiteX1" fmla="*/ 57398 w 1255690"/>
              <a:gd name="connsiteY1" fmla="*/ 0 h 573982"/>
              <a:gd name="connsiteX2" fmla="*/ 1198292 w 1255690"/>
              <a:gd name="connsiteY2" fmla="*/ 0 h 573982"/>
              <a:gd name="connsiteX3" fmla="*/ 1255690 w 1255690"/>
              <a:gd name="connsiteY3" fmla="*/ 57398 h 573982"/>
              <a:gd name="connsiteX4" fmla="*/ 1255690 w 1255690"/>
              <a:gd name="connsiteY4" fmla="*/ 516584 h 573982"/>
              <a:gd name="connsiteX5" fmla="*/ 1198292 w 1255690"/>
              <a:gd name="connsiteY5" fmla="*/ 573982 h 573982"/>
              <a:gd name="connsiteX6" fmla="*/ 57398 w 1255690"/>
              <a:gd name="connsiteY6" fmla="*/ 573982 h 573982"/>
              <a:gd name="connsiteX7" fmla="*/ 0 w 1255690"/>
              <a:gd name="connsiteY7" fmla="*/ 516584 h 573982"/>
              <a:gd name="connsiteX8" fmla="*/ 0 w 1255690"/>
              <a:gd name="connsiteY8" fmla="*/ 57398 h 57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5690" h="573982">
                <a:moveTo>
                  <a:pt x="0" y="57398"/>
                </a:moveTo>
                <a:cubicBezTo>
                  <a:pt x="0" y="25698"/>
                  <a:pt x="25698" y="0"/>
                  <a:pt x="57398" y="0"/>
                </a:cubicBezTo>
                <a:lnTo>
                  <a:pt x="1198292" y="0"/>
                </a:lnTo>
                <a:cubicBezTo>
                  <a:pt x="1229992" y="0"/>
                  <a:pt x="1255690" y="25698"/>
                  <a:pt x="1255690" y="57398"/>
                </a:cubicBezTo>
                <a:lnTo>
                  <a:pt x="1255690" y="516584"/>
                </a:lnTo>
                <a:cubicBezTo>
                  <a:pt x="1255690" y="548284"/>
                  <a:pt x="1229992" y="573982"/>
                  <a:pt x="1198292" y="573982"/>
                </a:cubicBezTo>
                <a:lnTo>
                  <a:pt x="57398" y="573982"/>
                </a:lnTo>
                <a:cubicBezTo>
                  <a:pt x="25698" y="573982"/>
                  <a:pt x="0" y="548284"/>
                  <a:pt x="0" y="516584"/>
                </a:cubicBezTo>
                <a:lnTo>
                  <a:pt x="0" y="57398"/>
                </a:lnTo>
                <a:close/>
              </a:path>
            </a:pathLst>
          </a:cu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6000" tIns="36000" rIns="36000" bIns="36000" numCol="1" spcCol="1270" anchor="t" anchorCtr="0">
            <a:noAutofit/>
          </a:bodyPr>
          <a:lstStyle/>
          <a:p>
            <a:pPr marL="180975" lvl="0" indent="-180975" defTabSz="488950">
              <a:lnSpc>
                <a:spcPct val="90000"/>
              </a:lnSpc>
              <a:spcBef>
                <a:spcPct val="0"/>
              </a:spcBef>
              <a:spcAft>
                <a:spcPct val="35000"/>
              </a:spcAft>
              <a:buFont typeface="Arial" panose="020B0604020202020204" pitchFamily="34" charset="0"/>
              <a:buChar char="•"/>
            </a:pPr>
            <a:r>
              <a:rPr lang="en-GB" sz="1600" dirty="0">
                <a:latin typeface="Tahoma" panose="020B0604030504040204" pitchFamily="34" charset="0"/>
                <a:ea typeface="Tahoma" panose="020B0604030504040204" pitchFamily="34" charset="0"/>
                <a:cs typeface="Tahoma" panose="020B0604030504040204" pitchFamily="34" charset="0"/>
              </a:rPr>
              <a:t>Finalise training plan &amp; agree how to implement</a:t>
            </a:r>
          </a:p>
        </p:txBody>
      </p:sp>
    </p:spTree>
    <p:extLst>
      <p:ext uri="{BB962C8B-B14F-4D97-AF65-F5344CB8AC3E}">
        <p14:creationId xmlns:p14="http://schemas.microsoft.com/office/powerpoint/2010/main" val="1827552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6BBC435-B9C5-4AEB-B555-861A854F12B9}"/>
              </a:ext>
            </a:extLst>
          </p:cNvPr>
          <p:cNvSpPr>
            <a:spLocks noGrp="1"/>
          </p:cNvSpPr>
          <p:nvPr>
            <p:ph type="title"/>
          </p:nvPr>
        </p:nvSpPr>
        <p:spPr>
          <a:xfrm>
            <a:off x="485661" y="365125"/>
            <a:ext cx="10199756" cy="337599"/>
          </a:xfrm>
        </p:spPr>
        <p:txBody>
          <a:bodyPr/>
          <a:lstStyle/>
          <a:p>
            <a:r>
              <a:rPr lang="en-GB" dirty="0"/>
              <a:t>There are 2 optional pieces of work that build on and maximise benefits of core training plan output </a:t>
            </a:r>
          </a:p>
        </p:txBody>
      </p:sp>
      <p:sp>
        <p:nvSpPr>
          <p:cNvPr id="10" name="Slide Number Placeholder 9">
            <a:extLst>
              <a:ext uri="{FF2B5EF4-FFF2-40B4-BE49-F238E27FC236}">
                <a16:creationId xmlns:a16="http://schemas.microsoft.com/office/drawing/2014/main" id="{9BA0D685-3821-47E0-9151-5B52FF79197C}"/>
              </a:ext>
            </a:extLst>
          </p:cNvPr>
          <p:cNvSpPr>
            <a:spLocks noGrp="1"/>
          </p:cNvSpPr>
          <p:nvPr>
            <p:ph type="sldNum" sz="quarter" idx="10"/>
          </p:nvPr>
        </p:nvSpPr>
        <p:spPr/>
        <p:txBody>
          <a:bodyPr/>
          <a:lstStyle/>
          <a:p>
            <a:fld id="{B8887534-9256-4D4A-AB4E-4EBB84A560FF}" type="slidenum">
              <a:rPr lang="en-GB" smtClean="0"/>
              <a:pPr/>
              <a:t>8</a:t>
            </a:fld>
            <a:endParaRPr lang="en-GB"/>
          </a:p>
        </p:txBody>
      </p:sp>
      <p:sp>
        <p:nvSpPr>
          <p:cNvPr id="3" name="TextBox 2">
            <a:extLst>
              <a:ext uri="{FF2B5EF4-FFF2-40B4-BE49-F238E27FC236}">
                <a16:creationId xmlns:a16="http://schemas.microsoft.com/office/drawing/2014/main" id="{51EA3B99-785C-72B5-C8A1-57DD4B7E993D}"/>
              </a:ext>
            </a:extLst>
          </p:cNvPr>
          <p:cNvSpPr txBox="1"/>
          <p:nvPr/>
        </p:nvSpPr>
        <p:spPr>
          <a:xfrm>
            <a:off x="2469881" y="1175860"/>
            <a:ext cx="7252238" cy="738663"/>
          </a:xfrm>
          <a:prstGeom prst="rect">
            <a:avLst/>
          </a:prstGeom>
          <a:solidFill>
            <a:schemeClr val="accent2">
              <a:lumMod val="20000"/>
              <a:lumOff val="80000"/>
            </a:schemeClr>
          </a:solidFill>
        </p:spPr>
        <p:txBody>
          <a:bodyPr wrap="square" rtlCol="0" anchor="ctr" anchorCtr="0">
            <a:noAutofit/>
          </a:bodyPr>
          <a:lstStyle/>
          <a:p>
            <a:pPr lvl="0" algn="ctr" defTabSz="488950">
              <a:lnSpc>
                <a:spcPct val="90000"/>
              </a:lnSpc>
              <a:spcBef>
                <a:spcPct val="0"/>
              </a:spcBef>
              <a:spcAft>
                <a:spcPct val="35000"/>
              </a:spcAft>
            </a:pPr>
            <a:r>
              <a:rPr lang="en-GB" sz="1600" b="1" dirty="0">
                <a:latin typeface="Tahoma" panose="020B0604030504040204" pitchFamily="34" charset="0"/>
                <a:ea typeface="Tahoma" panose="020B0604030504040204" pitchFamily="34" charset="0"/>
                <a:cs typeface="Tahoma" panose="020B0604030504040204" pitchFamily="34" charset="0"/>
              </a:rPr>
              <a:t>Senior team aligned on training plan (curricula and calendar) for all grades, and clear on who will do what to implement.</a:t>
            </a:r>
          </a:p>
        </p:txBody>
      </p:sp>
      <p:sp>
        <p:nvSpPr>
          <p:cNvPr id="8" name="TextBox 7">
            <a:extLst>
              <a:ext uri="{FF2B5EF4-FFF2-40B4-BE49-F238E27FC236}">
                <a16:creationId xmlns:a16="http://schemas.microsoft.com/office/drawing/2014/main" id="{C912E0EA-C6C2-B110-01CE-FF98D65535AB}"/>
              </a:ext>
            </a:extLst>
          </p:cNvPr>
          <p:cNvSpPr txBox="1"/>
          <p:nvPr/>
        </p:nvSpPr>
        <p:spPr>
          <a:xfrm>
            <a:off x="597538" y="1175861"/>
            <a:ext cx="1499619" cy="738664"/>
          </a:xfrm>
          <a:prstGeom prst="homePlate">
            <a:avLst>
              <a:gd name="adj" fmla="val 22843"/>
            </a:avLst>
          </a:prstGeom>
          <a:solidFill>
            <a:schemeClr val="tx1"/>
          </a:solidFill>
        </p:spPr>
        <p:txBody>
          <a:bodyPr wrap="square" rtlCol="0" anchor="ctr" anchorCtr="0">
            <a:noAutofit/>
          </a:bodyPr>
          <a:lstStyle/>
          <a:p>
            <a:pPr algn="ctr">
              <a:spcBef>
                <a:spcPts val="1200"/>
              </a:spcBef>
            </a:pPr>
            <a:r>
              <a:rPr lang="en-GB" sz="1600" b="1" dirty="0">
                <a:solidFill>
                  <a:schemeClr val="bg1"/>
                </a:solidFill>
                <a:latin typeface="Tahoma" panose="020B0604030504040204" pitchFamily="34" charset="0"/>
                <a:ea typeface="Tahoma" panose="020B0604030504040204" pitchFamily="34" charset="0"/>
                <a:cs typeface="Tahoma" panose="020B0604030504040204" pitchFamily="34" charset="0"/>
              </a:rPr>
              <a:t>Core </a:t>
            </a:r>
            <a:br>
              <a:rPr lang="en-GB" sz="1600" b="1" dirty="0">
                <a:solidFill>
                  <a:schemeClr val="bg1"/>
                </a:solidFill>
                <a:latin typeface="Tahoma" panose="020B0604030504040204" pitchFamily="34" charset="0"/>
                <a:ea typeface="Tahoma" panose="020B0604030504040204" pitchFamily="34" charset="0"/>
                <a:cs typeface="Tahoma" panose="020B0604030504040204" pitchFamily="34" charset="0"/>
              </a:rPr>
            </a:br>
            <a:r>
              <a:rPr lang="en-GB" sz="1600" b="1" dirty="0">
                <a:solidFill>
                  <a:schemeClr val="bg1"/>
                </a:solidFill>
                <a:latin typeface="Tahoma" panose="020B0604030504040204" pitchFamily="34" charset="0"/>
                <a:ea typeface="Tahoma" panose="020B0604030504040204" pitchFamily="34" charset="0"/>
                <a:cs typeface="Tahoma" panose="020B0604030504040204" pitchFamily="34" charset="0"/>
              </a:rPr>
              <a:t>output</a:t>
            </a:r>
            <a:endParaRPr lang="en-GB" sz="1600" i="1" u="sng"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9" name="TextBox 8">
            <a:extLst>
              <a:ext uri="{FF2B5EF4-FFF2-40B4-BE49-F238E27FC236}">
                <a16:creationId xmlns:a16="http://schemas.microsoft.com/office/drawing/2014/main" id="{2AED1C6E-7F7F-4AC7-719A-007281FB2F74}"/>
              </a:ext>
            </a:extLst>
          </p:cNvPr>
          <p:cNvSpPr txBox="1"/>
          <p:nvPr/>
        </p:nvSpPr>
        <p:spPr>
          <a:xfrm>
            <a:off x="597538" y="2948755"/>
            <a:ext cx="5246671" cy="3196251"/>
          </a:xfrm>
          <a:prstGeom prst="rect">
            <a:avLst/>
          </a:prstGeom>
          <a:solidFill>
            <a:schemeClr val="accent2">
              <a:lumMod val="20000"/>
              <a:lumOff val="80000"/>
              <a:alpha val="40000"/>
            </a:schemeClr>
          </a:solidFill>
        </p:spPr>
        <p:txBody>
          <a:bodyPr wrap="square" tIns="108000" rtlCol="0" anchor="t" anchorCtr="0">
            <a:noAutofit/>
          </a:bodyPr>
          <a:lstStyle/>
          <a:p>
            <a:pPr marL="285750" lvl="0" indent="-285750" defTabSz="488950">
              <a:spcBef>
                <a:spcPts val="1200"/>
              </a:spcBef>
              <a:buFont typeface="Arial" panose="020B0604020202020204" pitchFamily="34" charset="0"/>
              <a:buChar char="•"/>
            </a:pPr>
            <a:r>
              <a:rPr lang="en-GB" sz="1600" dirty="0">
                <a:latin typeface="Tahoma" panose="020B0604030504040204" pitchFamily="34" charset="0"/>
                <a:ea typeface="Tahoma" panose="020B0604030504040204" pitchFamily="34" charset="0"/>
                <a:cs typeface="Tahoma" panose="020B0604030504040204" pitchFamily="34" charset="0"/>
              </a:rPr>
              <a:t>Optimised skill development combines on-the-job learning, feedback, coaching and training</a:t>
            </a:r>
          </a:p>
          <a:p>
            <a:pPr marL="285750" lvl="0" indent="-285750" defTabSz="488950">
              <a:spcBef>
                <a:spcPts val="1200"/>
              </a:spcBef>
              <a:buFont typeface="Arial" panose="020B0604020202020204" pitchFamily="34" charset="0"/>
              <a:buChar char="•"/>
            </a:pPr>
            <a:r>
              <a:rPr lang="en-GB" sz="1600" dirty="0">
                <a:latin typeface="Tahoma" panose="020B0604030504040204" pitchFamily="34" charset="0"/>
                <a:ea typeface="Tahoma" panose="020B0604030504040204" pitchFamily="34" charset="0"/>
                <a:cs typeface="Tahoma" panose="020B0604030504040204" pitchFamily="34" charset="0"/>
              </a:rPr>
              <a:t>Your training plan needs to work alongside project allocations and performance review processes</a:t>
            </a:r>
          </a:p>
          <a:p>
            <a:pPr marL="285750" lvl="0" indent="-285750" defTabSz="488950">
              <a:spcBef>
                <a:spcPts val="1200"/>
              </a:spcBef>
              <a:buFont typeface="Arial" panose="020B0604020202020204" pitchFamily="34" charset="0"/>
              <a:buChar char="•"/>
            </a:pPr>
            <a:r>
              <a:rPr lang="en-GB" sz="1600" dirty="0">
                <a:latin typeface="Tahoma" panose="020B0604030504040204" pitchFamily="34" charset="0"/>
                <a:ea typeface="Tahoma" panose="020B0604030504040204" pitchFamily="34" charset="0"/>
                <a:cs typeface="Tahoma" panose="020B0604030504040204" pitchFamily="34" charset="0"/>
              </a:rPr>
              <a:t>We can review these processes, define decision rights (using Bain’s RAPID framework*), and recommend updates</a:t>
            </a:r>
          </a:p>
          <a:p>
            <a:pPr marL="285750" lvl="0" indent="-285750" defTabSz="488950">
              <a:spcBef>
                <a:spcPts val="1200"/>
              </a:spcBef>
              <a:buFont typeface="Arial" panose="020B0604020202020204" pitchFamily="34" charset="0"/>
              <a:buChar char="•"/>
            </a:pPr>
            <a:r>
              <a:rPr lang="en-GB" sz="1600" dirty="0">
                <a:latin typeface="Tahoma" panose="020B0604030504040204" pitchFamily="34" charset="0"/>
                <a:ea typeface="Tahoma" panose="020B0604030504040204" pitchFamily="34" charset="0"/>
                <a:cs typeface="Tahoma" panose="020B0604030504040204" pitchFamily="34" charset="0"/>
              </a:rPr>
              <a:t>New processes will ensure development priorities are consistently identified &amp; fed through to future training and project allocations decisions</a:t>
            </a:r>
          </a:p>
          <a:p>
            <a:pPr marL="285750" lvl="0" indent="-285750" defTabSz="488950">
              <a:lnSpc>
                <a:spcPct val="90000"/>
              </a:lnSpc>
              <a:spcBef>
                <a:spcPct val="0"/>
              </a:spcBef>
              <a:spcAft>
                <a:spcPct val="35000"/>
              </a:spcAft>
              <a:buFont typeface="Arial" panose="020B0604020202020204" pitchFamily="34" charset="0"/>
              <a:buChar char="•"/>
            </a:pPr>
            <a:endParaRPr lang="en-GB" sz="1600" dirty="0">
              <a:latin typeface="Tahoma" panose="020B0604030504040204" pitchFamily="34" charset="0"/>
              <a:ea typeface="Tahoma" panose="020B0604030504040204" pitchFamily="34" charset="0"/>
              <a:cs typeface="Tahoma" panose="020B0604030504040204" pitchFamily="34" charset="0"/>
            </a:endParaRPr>
          </a:p>
        </p:txBody>
      </p:sp>
      <p:sp>
        <p:nvSpPr>
          <p:cNvPr id="12" name="TextBox 11">
            <a:extLst>
              <a:ext uri="{FF2B5EF4-FFF2-40B4-BE49-F238E27FC236}">
                <a16:creationId xmlns:a16="http://schemas.microsoft.com/office/drawing/2014/main" id="{3B4CC64C-C50F-1C07-5B43-DB4FAA19EDFC}"/>
              </a:ext>
            </a:extLst>
          </p:cNvPr>
          <p:cNvSpPr txBox="1"/>
          <p:nvPr/>
        </p:nvSpPr>
        <p:spPr>
          <a:xfrm>
            <a:off x="597538" y="2350822"/>
            <a:ext cx="5246671" cy="448846"/>
          </a:xfrm>
          <a:prstGeom prst="rect">
            <a:avLst/>
          </a:prstGeom>
          <a:solidFill>
            <a:schemeClr val="accent2"/>
          </a:solidFill>
        </p:spPr>
        <p:txBody>
          <a:bodyPr wrap="square" rtlCol="0" anchor="ctr" anchorCtr="0">
            <a:noAutofit/>
          </a:bodyPr>
          <a:lstStyle>
            <a:defPPr>
              <a:defRPr lang="en-US"/>
            </a:defPPr>
            <a:lvl1pPr algn="ctr">
              <a:spcBef>
                <a:spcPts val="1200"/>
              </a:spcBef>
              <a:defRPr sz="1600" b="1">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GB" dirty="0"/>
              <a:t>Consider: Senior Alignment with decision processes </a:t>
            </a:r>
          </a:p>
        </p:txBody>
      </p:sp>
      <p:cxnSp>
        <p:nvCxnSpPr>
          <p:cNvPr id="14" name="Connector: Elbow 13">
            <a:extLst>
              <a:ext uri="{FF2B5EF4-FFF2-40B4-BE49-F238E27FC236}">
                <a16:creationId xmlns:a16="http://schemas.microsoft.com/office/drawing/2014/main" id="{D243EB43-83BC-4E7A-500C-30C9A456F5F6}"/>
              </a:ext>
            </a:extLst>
          </p:cNvPr>
          <p:cNvCxnSpPr>
            <a:stCxn id="3" idx="2"/>
            <a:endCxn id="12" idx="0"/>
          </p:cNvCxnSpPr>
          <p:nvPr/>
        </p:nvCxnSpPr>
        <p:spPr>
          <a:xfrm rot="5400000">
            <a:off x="4440288" y="695109"/>
            <a:ext cx="436299" cy="2875126"/>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182AA964-0BBD-62D2-A5DB-3EF52E417A4F}"/>
              </a:ext>
            </a:extLst>
          </p:cNvPr>
          <p:cNvSpPr txBox="1"/>
          <p:nvPr/>
        </p:nvSpPr>
        <p:spPr>
          <a:xfrm>
            <a:off x="6347793" y="2948755"/>
            <a:ext cx="5246671" cy="3196251"/>
          </a:xfrm>
          <a:prstGeom prst="rect">
            <a:avLst/>
          </a:prstGeom>
          <a:solidFill>
            <a:schemeClr val="accent2">
              <a:lumMod val="20000"/>
              <a:lumOff val="80000"/>
              <a:alpha val="40000"/>
            </a:schemeClr>
          </a:solidFill>
        </p:spPr>
        <p:txBody>
          <a:bodyPr wrap="square" tIns="108000" rtlCol="0" anchor="t" anchorCtr="0">
            <a:noAutofit/>
          </a:bodyPr>
          <a:lstStyle/>
          <a:p>
            <a:pPr marL="285750" lvl="0" indent="-285750" defTabSz="488950">
              <a:spcBef>
                <a:spcPts val="1200"/>
              </a:spcBef>
              <a:buFont typeface="Arial" panose="020B0604020202020204" pitchFamily="34" charset="0"/>
              <a:buChar char="•"/>
            </a:pPr>
            <a:r>
              <a:rPr lang="en-GB" sz="1600" dirty="0">
                <a:latin typeface="Tahoma" panose="020B0604030504040204" pitchFamily="34" charset="0"/>
                <a:ea typeface="Tahoma" panose="020B0604030504040204" pitchFamily="34" charset="0"/>
                <a:cs typeface="Tahoma" panose="020B0604030504040204" pitchFamily="34" charset="0"/>
              </a:rPr>
              <a:t>Measuring the impact of your investment in training and skill development is valuable, but not easy</a:t>
            </a:r>
          </a:p>
          <a:p>
            <a:pPr marL="285750" lvl="0" indent="-285750" defTabSz="488950">
              <a:spcBef>
                <a:spcPts val="1200"/>
              </a:spcBef>
              <a:buFont typeface="Arial" panose="020B0604020202020204" pitchFamily="34" charset="0"/>
              <a:buChar char="•"/>
            </a:pPr>
            <a:r>
              <a:rPr lang="en-GB" sz="1600" dirty="0">
                <a:latin typeface="Tahoma" panose="020B0604030504040204" pitchFamily="34" charset="0"/>
                <a:ea typeface="Tahoma" panose="020B0604030504040204" pitchFamily="34" charset="0"/>
                <a:cs typeface="Tahoma" panose="020B0604030504040204" pitchFamily="34" charset="0"/>
              </a:rPr>
              <a:t>Our Impact Analytics methods identify immediate impacts on mindset &amp; behaviours and then follow the ripple effects through to commercial outcomes</a:t>
            </a:r>
          </a:p>
          <a:p>
            <a:pPr marL="285750" lvl="0" indent="-285750" defTabSz="488950">
              <a:spcBef>
                <a:spcPts val="1200"/>
              </a:spcBef>
              <a:buFont typeface="Arial" panose="020B0604020202020204" pitchFamily="34" charset="0"/>
              <a:buChar char="•"/>
            </a:pPr>
            <a:r>
              <a:rPr lang="en-GB" sz="1600" dirty="0">
                <a:latin typeface="Tahoma" panose="020B0604030504040204" pitchFamily="34" charset="0"/>
                <a:ea typeface="Tahoma" panose="020B0604030504040204" pitchFamily="34" charset="0"/>
                <a:cs typeface="Tahoma" panose="020B0604030504040204" pitchFamily="34" charset="0"/>
              </a:rPr>
              <a:t>Alongside training plan development, we can design learning impact measures and gather baseline data ahead of implementation in 2024</a:t>
            </a:r>
          </a:p>
          <a:p>
            <a:pPr marL="285750" lvl="0" indent="-285750" defTabSz="488950">
              <a:spcBef>
                <a:spcPts val="1200"/>
              </a:spcBef>
              <a:buFont typeface="Arial" panose="020B0604020202020204" pitchFamily="34" charset="0"/>
              <a:buChar char="•"/>
            </a:pPr>
            <a:r>
              <a:rPr lang="en-GB" sz="1600" dirty="0">
                <a:latin typeface="Tahoma" panose="020B0604030504040204" pitchFamily="34" charset="0"/>
                <a:ea typeface="Tahoma" panose="020B0604030504040204" pitchFamily="34" charset="0"/>
                <a:cs typeface="Tahoma" panose="020B0604030504040204" pitchFamily="34" charset="0"/>
              </a:rPr>
              <a:t>This will enable you to know which training is most effective and what impact it is having</a:t>
            </a:r>
          </a:p>
          <a:p>
            <a:pPr marL="285750" lvl="0" indent="-285750" defTabSz="488950">
              <a:lnSpc>
                <a:spcPct val="90000"/>
              </a:lnSpc>
              <a:spcBef>
                <a:spcPct val="0"/>
              </a:spcBef>
              <a:spcAft>
                <a:spcPct val="35000"/>
              </a:spcAft>
              <a:buFont typeface="Arial" panose="020B0604020202020204" pitchFamily="34" charset="0"/>
              <a:buChar char="•"/>
            </a:pPr>
            <a:endParaRPr lang="en-GB" sz="1600" dirty="0">
              <a:latin typeface="Tahoma" panose="020B0604030504040204" pitchFamily="34" charset="0"/>
              <a:ea typeface="Tahoma" panose="020B0604030504040204" pitchFamily="34" charset="0"/>
              <a:cs typeface="Tahoma" panose="020B0604030504040204" pitchFamily="34" charset="0"/>
            </a:endParaRPr>
          </a:p>
        </p:txBody>
      </p:sp>
      <p:sp>
        <p:nvSpPr>
          <p:cNvPr id="22" name="TextBox 21">
            <a:extLst>
              <a:ext uri="{FF2B5EF4-FFF2-40B4-BE49-F238E27FC236}">
                <a16:creationId xmlns:a16="http://schemas.microsoft.com/office/drawing/2014/main" id="{B6A65EA2-FBF9-B9F3-B900-12AF63F8F2B5}"/>
              </a:ext>
            </a:extLst>
          </p:cNvPr>
          <p:cNvSpPr txBox="1"/>
          <p:nvPr/>
        </p:nvSpPr>
        <p:spPr>
          <a:xfrm>
            <a:off x="6347793" y="2350822"/>
            <a:ext cx="5246671" cy="448846"/>
          </a:xfrm>
          <a:prstGeom prst="rect">
            <a:avLst/>
          </a:prstGeom>
          <a:solidFill>
            <a:schemeClr val="accent2"/>
          </a:solidFill>
        </p:spPr>
        <p:txBody>
          <a:bodyPr wrap="square" rtlCol="0" anchor="ctr" anchorCtr="0">
            <a:noAutofit/>
          </a:bodyPr>
          <a:lstStyle>
            <a:defPPr>
              <a:defRPr lang="en-US"/>
            </a:defPPr>
            <a:lvl1pPr algn="ctr">
              <a:spcBef>
                <a:spcPts val="1200"/>
              </a:spcBef>
              <a:defRPr sz="1600" b="1">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GB" dirty="0"/>
              <a:t>Consider: Learning impact analytics</a:t>
            </a:r>
          </a:p>
        </p:txBody>
      </p:sp>
      <p:cxnSp>
        <p:nvCxnSpPr>
          <p:cNvPr id="23" name="Connector: Elbow 22">
            <a:extLst>
              <a:ext uri="{FF2B5EF4-FFF2-40B4-BE49-F238E27FC236}">
                <a16:creationId xmlns:a16="http://schemas.microsoft.com/office/drawing/2014/main" id="{D4B1CC40-1FE3-AC66-6FE9-34AB770843CF}"/>
              </a:ext>
            </a:extLst>
          </p:cNvPr>
          <p:cNvCxnSpPr>
            <a:cxnSpLocks/>
            <a:stCxn id="3" idx="2"/>
            <a:endCxn id="22" idx="0"/>
          </p:cNvCxnSpPr>
          <p:nvPr/>
        </p:nvCxnSpPr>
        <p:spPr>
          <a:xfrm rot="16200000" flipH="1">
            <a:off x="7315415" y="695107"/>
            <a:ext cx="436299" cy="2875129"/>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60012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E0A04A8-A8D1-CBFE-FB29-63111A10217E}"/>
              </a:ext>
            </a:extLst>
          </p:cNvPr>
          <p:cNvPicPr>
            <a:picLocks noChangeAspect="1"/>
          </p:cNvPicPr>
          <p:nvPr/>
        </p:nvPicPr>
        <p:blipFill>
          <a:blip r:embed="rId2"/>
          <a:stretch>
            <a:fillRect/>
          </a:stretch>
        </p:blipFill>
        <p:spPr>
          <a:xfrm>
            <a:off x="862369" y="1104172"/>
            <a:ext cx="10149760" cy="561940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2" name="TextBox 1">
            <a:extLst>
              <a:ext uri="{FF2B5EF4-FFF2-40B4-BE49-F238E27FC236}">
                <a16:creationId xmlns:a16="http://schemas.microsoft.com/office/drawing/2014/main" id="{C65FA3E3-1649-BABB-1C97-8AEFC8C060DB}"/>
              </a:ext>
            </a:extLst>
          </p:cNvPr>
          <p:cNvSpPr txBox="1"/>
          <p:nvPr/>
        </p:nvSpPr>
        <p:spPr>
          <a:xfrm>
            <a:off x="698090" y="78658"/>
            <a:ext cx="8209936" cy="707886"/>
          </a:xfrm>
          <a:prstGeom prst="rect">
            <a:avLst/>
          </a:prstGeom>
          <a:noFill/>
        </p:spPr>
        <p:txBody>
          <a:bodyPr wrap="square" rtlCol="0">
            <a:spAutoFit/>
          </a:bodyPr>
          <a:lstStyle/>
          <a:p>
            <a:r>
              <a:rPr lang="en-GB" sz="4000" dirty="0"/>
              <a:t>A systematic Approach</a:t>
            </a:r>
          </a:p>
        </p:txBody>
      </p:sp>
    </p:spTree>
    <p:extLst>
      <p:ext uri="{BB962C8B-B14F-4D97-AF65-F5344CB8AC3E}">
        <p14:creationId xmlns:p14="http://schemas.microsoft.com/office/powerpoint/2010/main" val="22510329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oneycomb PS PPT Theme">
  <a:themeElements>
    <a:clrScheme name="Honeycomb Theme">
      <a:dk1>
        <a:srgbClr val="002060"/>
      </a:dk1>
      <a:lt1>
        <a:srgbClr val="FFFFFF"/>
      </a:lt1>
      <a:dk2>
        <a:srgbClr val="A6A6A6"/>
      </a:dk2>
      <a:lt2>
        <a:srgbClr val="EAEAEA"/>
      </a:lt2>
      <a:accent1>
        <a:srgbClr val="EBB95F"/>
      </a:accent1>
      <a:accent2>
        <a:srgbClr val="40AEA6"/>
      </a:accent2>
      <a:accent3>
        <a:srgbClr val="FAEDD6"/>
      </a:accent3>
      <a:accent4>
        <a:srgbClr val="6D9FC0"/>
      </a:accent4>
      <a:accent5>
        <a:srgbClr val="CADBE8"/>
      </a:accent5>
      <a:accent6>
        <a:srgbClr val="FF0000"/>
      </a:accent6>
      <a:hlink>
        <a:srgbClr val="40AEA6"/>
      </a:hlink>
      <a:folHlink>
        <a:srgbClr val="6D9FC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Honeycomb PS PPT Theme" id="{49AAE42A-D050-4401-90D7-DBA0126EBDA6}" vid="{358EE050-D715-42EA-B551-4E1647DF878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Honeycomb PS PPT Theme</Template>
  <TotalTime>1922</TotalTime>
  <Words>2952</Words>
  <Application>Microsoft Office PowerPoint</Application>
  <PresentationFormat>Widescreen</PresentationFormat>
  <Paragraphs>407</Paragraphs>
  <Slides>22</Slides>
  <Notes>3</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5" baseType="lpstr">
      <vt:lpstr>Arial</vt:lpstr>
      <vt:lpstr>Calibri</vt:lpstr>
      <vt:lpstr>Courier New</vt:lpstr>
      <vt:lpstr>Helvetica</vt:lpstr>
      <vt:lpstr>Noto Sans Symbols</vt:lpstr>
      <vt:lpstr>Segoe UI</vt:lpstr>
      <vt:lpstr>sohne</vt:lpstr>
      <vt:lpstr>source-serif-pro</vt:lpstr>
      <vt:lpstr>Tahoma</vt:lpstr>
      <vt:lpstr>Verdana</vt:lpstr>
      <vt:lpstr>Wingdings</vt:lpstr>
      <vt:lpstr>Honeycomb PS PPT Theme</vt:lpstr>
      <vt:lpstr>think-cell Slide</vt:lpstr>
      <vt:lpstr>eBook: Consulting Skill Development</vt:lpstr>
      <vt:lpstr>Accelerating skill development can enable today’s  Consultant to contribute £500k+ more profit over 6 years</vt:lpstr>
      <vt:lpstr>4 Steps to build a bullet-proof skill development engine</vt:lpstr>
      <vt:lpstr>10 attributes of the typical target end state</vt:lpstr>
      <vt:lpstr>Training curriculum design is a complex set of decisions</vt:lpstr>
      <vt:lpstr>Target outputs: What we understand you need</vt:lpstr>
      <vt:lpstr>TASK: Run 3 half-day workshops to agree</vt:lpstr>
      <vt:lpstr>There are 2 optional pieces of work that build on and maximise benefits of core training plan output </vt:lpstr>
      <vt:lpstr>PowerPoint Presentation</vt:lpstr>
      <vt:lpstr>PowerPoint Presentation</vt:lpstr>
      <vt:lpstr>PowerPoint Presentation</vt:lpstr>
      <vt:lpstr>PowerPoint Presentation</vt:lpstr>
      <vt:lpstr>PowerPoint Presentation</vt:lpstr>
      <vt:lpstr>10: Training curriculum design is a complex set of decisions</vt:lpstr>
      <vt:lpstr>  Detailed skill expectations drive clarity &amp; consistency</vt:lpstr>
      <vt:lpstr>  Expectations can be tailored for individual career paths</vt:lpstr>
      <vt:lpstr>What Consider when in career, when in year, and team capacity</vt:lpstr>
      <vt:lpstr>  Create a whole-firm annual calendar</vt:lpstr>
      <vt:lpstr>RAPID decision design framework</vt:lpstr>
      <vt:lpstr>Example: Project Resourcing decision process</vt:lpstr>
      <vt:lpstr>Example: Project Resourcing decision rights &amp; rol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4C Associates: SLAM programme development</dc:title>
  <dc:creator>Deri Hughes</dc:creator>
  <cp:lastModifiedBy>Joseph O'Mahoney</cp:lastModifiedBy>
  <cp:revision>6</cp:revision>
  <dcterms:created xsi:type="dcterms:W3CDTF">2023-05-02T10:27:57Z</dcterms:created>
  <dcterms:modified xsi:type="dcterms:W3CDTF">2024-11-30T21:51:18Z</dcterms:modified>
</cp:coreProperties>
</file>